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4"/>
  </p:sldMasterIdLst>
  <p:notesMasterIdLst>
    <p:notesMasterId r:id="rId17"/>
  </p:notesMasterIdLst>
  <p:handoutMasterIdLst>
    <p:handoutMasterId r:id="rId18"/>
  </p:handoutMasterIdLst>
  <p:sldIdLst>
    <p:sldId id="410" r:id="rId5"/>
    <p:sldId id="383" r:id="rId6"/>
    <p:sldId id="391" r:id="rId7"/>
    <p:sldId id="408" r:id="rId8"/>
    <p:sldId id="415" r:id="rId9"/>
    <p:sldId id="411" r:id="rId10"/>
    <p:sldId id="412" r:id="rId11"/>
    <p:sldId id="404" r:id="rId12"/>
    <p:sldId id="414" r:id="rId13"/>
    <p:sldId id="405" r:id="rId14"/>
    <p:sldId id="413" r:id="rId15"/>
    <p:sldId id="39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F3CFAE-7241-4752-903A-D6C230C8EA12}" v="310" dt="2025-07-11T16:12:34.697"/>
  </p1510:revLst>
</p1510:revInfo>
</file>

<file path=ppt/tableStyles.xml><?xml version="1.0" encoding="utf-8"?>
<a:tblStyleLst xmlns:a="http://schemas.openxmlformats.org/drawingml/2006/main" def="{8A107856-5554-42FB-B03E-39F5DBC370B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27" autoAdjust="0"/>
  </p:normalViewPr>
  <p:slideViewPr>
    <p:cSldViewPr snapToGrid="0">
      <p:cViewPr varScale="1">
        <p:scale>
          <a:sx n="59" d="100"/>
          <a:sy n="59" d="100"/>
        </p:scale>
        <p:origin x="888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45" d="100"/>
          <a:sy n="45" d="100"/>
        </p:scale>
        <p:origin x="2746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nasen, S. (Samantha)" userId="1aefe51b-8b5e-4f27-ab1e-54c7ac2f2976" providerId="ADAL" clId="{56F3CFAE-7241-4752-903A-D6C230C8EA12}"/>
    <pc:docChg chg="undo custSel addSld delSld modSld modMainMaster">
      <pc:chgData name="Ganasen, S. (Samantha)" userId="1aefe51b-8b5e-4f27-ab1e-54c7ac2f2976" providerId="ADAL" clId="{56F3CFAE-7241-4752-903A-D6C230C8EA12}" dt="2025-07-11T16:13:24.728" v="2582" actId="20577"/>
      <pc:docMkLst>
        <pc:docMk/>
      </pc:docMkLst>
      <pc:sldChg chg="addSp delSp modSp mod">
        <pc:chgData name="Ganasen, S. (Samantha)" userId="1aefe51b-8b5e-4f27-ab1e-54c7ac2f2976" providerId="ADAL" clId="{56F3CFAE-7241-4752-903A-D6C230C8EA12}" dt="2025-07-11T16:03:59.371" v="2042"/>
        <pc:sldMkLst>
          <pc:docMk/>
          <pc:sldMk cId="3346685798" sldId="383"/>
        </pc:sldMkLst>
        <pc:spChg chg="mod">
          <ac:chgData name="Ganasen, S. (Samantha)" userId="1aefe51b-8b5e-4f27-ab1e-54c7ac2f2976" providerId="ADAL" clId="{56F3CFAE-7241-4752-903A-D6C230C8EA12}" dt="2025-07-11T16:03:59.334" v="2017" actId="948"/>
          <ac:spMkLst>
            <pc:docMk/>
            <pc:sldMk cId="3346685798" sldId="383"/>
            <ac:spMk id="2" creationId="{B530BF65-C84B-45C3-72CA-AFDA68851174}"/>
          </ac:spMkLst>
        </pc:spChg>
        <pc:spChg chg="mod">
          <ac:chgData name="Ganasen, S. (Samantha)" userId="1aefe51b-8b5e-4f27-ab1e-54c7ac2f2976" providerId="ADAL" clId="{56F3CFAE-7241-4752-903A-D6C230C8EA12}" dt="2025-07-11T15:43:57.553" v="1046" actId="20577"/>
          <ac:spMkLst>
            <pc:docMk/>
            <pc:sldMk cId="3346685798" sldId="383"/>
            <ac:spMk id="3" creationId="{3B8EBC2C-6DD7-5003-38EB-40753046FE8C}"/>
          </ac:spMkLst>
        </pc:spChg>
        <pc:spChg chg="add del mod modVis">
          <ac:chgData name="Ganasen, S. (Samantha)" userId="1aefe51b-8b5e-4f27-ab1e-54c7ac2f2976" providerId="ADAL" clId="{56F3CFAE-7241-4752-903A-D6C230C8EA12}" dt="2025-07-11T16:02:14.367" v="1695"/>
          <ac:spMkLst>
            <pc:docMk/>
            <pc:sldMk cId="3346685798" sldId="383"/>
            <ac:spMk id="4" creationId="{3C5A7DCC-07DB-FBE7-93F8-DA2176173373}"/>
          </ac:spMkLst>
        </pc:spChg>
        <pc:spChg chg="add del mod modVis">
          <ac:chgData name="Ganasen, S. (Samantha)" userId="1aefe51b-8b5e-4f27-ab1e-54c7ac2f2976" providerId="ADAL" clId="{56F3CFAE-7241-4752-903A-D6C230C8EA12}" dt="2025-07-11T16:03:33.714" v="2012"/>
          <ac:spMkLst>
            <pc:docMk/>
            <pc:sldMk cId="3346685798" sldId="383"/>
            <ac:spMk id="6" creationId="{85E3BB04-CAC6-C062-BE37-753DC2E633D6}"/>
          </ac:spMkLst>
        </pc:spChg>
        <pc:spChg chg="add del mod modVis">
          <ac:chgData name="Ganasen, S. (Samantha)" userId="1aefe51b-8b5e-4f27-ab1e-54c7ac2f2976" providerId="ADAL" clId="{56F3CFAE-7241-4752-903A-D6C230C8EA12}" dt="2025-07-11T16:03:59.369" v="2040"/>
          <ac:spMkLst>
            <pc:docMk/>
            <pc:sldMk cId="3346685798" sldId="383"/>
            <ac:spMk id="7" creationId="{01E41548-7C38-51E9-D305-018E1CF09424}"/>
          </ac:spMkLst>
        </pc:spChg>
        <pc:spChg chg="add del mod modVis">
          <ac:chgData name="Ganasen, S. (Samantha)" userId="1aefe51b-8b5e-4f27-ab1e-54c7ac2f2976" providerId="ADAL" clId="{56F3CFAE-7241-4752-903A-D6C230C8EA12}" dt="2025-07-11T14:58:10.234" v="207"/>
          <ac:spMkLst>
            <pc:docMk/>
            <pc:sldMk cId="3346685798" sldId="383"/>
            <ac:spMk id="12" creationId="{6B7A4F8C-F3DA-EE2E-3CA9-4CA002E27B9D}"/>
          </ac:spMkLst>
        </pc:spChg>
        <pc:spChg chg="mod">
          <ac:chgData name="Ganasen, S. (Samantha)" userId="1aefe51b-8b5e-4f27-ab1e-54c7ac2f2976" providerId="ADAL" clId="{56F3CFAE-7241-4752-903A-D6C230C8EA12}" dt="2025-07-11T15:10:57.543" v="674" actId="20577"/>
          <ac:spMkLst>
            <pc:docMk/>
            <pc:sldMk cId="3346685798" sldId="383"/>
            <ac:spMk id="13" creationId="{B7031EB7-2FE0-ADE9-104B-28EDA53B2FAF}"/>
          </ac:spMkLst>
        </pc:spChg>
        <pc:graphicFrameChg chg="mod">
          <ac:chgData name="Ganasen, S. (Samantha)" userId="1aefe51b-8b5e-4f27-ab1e-54c7ac2f2976" providerId="ADAL" clId="{56F3CFAE-7241-4752-903A-D6C230C8EA12}" dt="2025-07-11T16:03:59.371" v="2042"/>
          <ac:graphicFrameMkLst>
            <pc:docMk/>
            <pc:sldMk cId="3346685798" sldId="383"/>
            <ac:graphicFrameMk id="5" creationId="{F3820626-AA1D-C496-29C1-819748E44D00}"/>
          </ac:graphicFrameMkLst>
        </pc:graphicFrameChg>
      </pc:sldChg>
      <pc:sldChg chg="addSp delSp modSp mod">
        <pc:chgData name="Ganasen, S. (Samantha)" userId="1aefe51b-8b5e-4f27-ab1e-54c7ac2f2976" providerId="ADAL" clId="{56F3CFAE-7241-4752-903A-D6C230C8EA12}" dt="2025-07-11T16:13:24.728" v="2582" actId="20577"/>
        <pc:sldMkLst>
          <pc:docMk/>
          <pc:sldMk cId="3200312026" sldId="391"/>
        </pc:sldMkLst>
        <pc:spChg chg="add del mod modVis">
          <ac:chgData name="Ganasen, S. (Samantha)" userId="1aefe51b-8b5e-4f27-ab1e-54c7ac2f2976" providerId="ADAL" clId="{56F3CFAE-7241-4752-903A-D6C230C8EA12}" dt="2025-07-11T16:02:14.360" v="1691"/>
          <ac:spMkLst>
            <pc:docMk/>
            <pc:sldMk cId="3200312026" sldId="391"/>
            <ac:spMk id="2" creationId="{47120268-E496-35C7-02A5-D3EA66B70636}"/>
          </ac:spMkLst>
        </pc:spChg>
        <pc:spChg chg="add del mod modVis">
          <ac:chgData name="Ganasen, S. (Samantha)" userId="1aefe51b-8b5e-4f27-ab1e-54c7ac2f2976" providerId="ADAL" clId="{56F3CFAE-7241-4752-903A-D6C230C8EA12}" dt="2025-07-11T16:03:33.711" v="2008"/>
          <ac:spMkLst>
            <pc:docMk/>
            <pc:sldMk cId="3200312026" sldId="391"/>
            <ac:spMk id="3" creationId="{F7EE2338-A606-7D75-AE0A-ACA66AA0FFBB}"/>
          </ac:spMkLst>
        </pc:spChg>
        <pc:spChg chg="add del mod modVis">
          <ac:chgData name="Ganasen, S. (Samantha)" userId="1aefe51b-8b5e-4f27-ab1e-54c7ac2f2976" providerId="ADAL" clId="{56F3CFAE-7241-4752-903A-D6C230C8EA12}" dt="2025-07-11T16:04:05.226" v="2067"/>
          <ac:spMkLst>
            <pc:docMk/>
            <pc:sldMk cId="3200312026" sldId="391"/>
            <ac:spMk id="4" creationId="{09F3BB9E-3B87-4106-6577-A6F8BEACADB5}"/>
          </ac:spMkLst>
        </pc:spChg>
        <pc:spChg chg="add del mod modVis">
          <ac:chgData name="Ganasen, S. (Samantha)" userId="1aefe51b-8b5e-4f27-ab1e-54c7ac2f2976" providerId="ADAL" clId="{56F3CFAE-7241-4752-903A-D6C230C8EA12}" dt="2025-07-11T16:06:02.519" v="2149"/>
          <ac:spMkLst>
            <pc:docMk/>
            <pc:sldMk cId="3200312026" sldId="391"/>
            <ac:spMk id="5" creationId="{20850EE4-2F8C-3592-FB70-9A8FF56BE3B0}"/>
          </ac:spMkLst>
        </pc:spChg>
        <pc:spChg chg="mod">
          <ac:chgData name="Ganasen, S. (Samantha)" userId="1aefe51b-8b5e-4f27-ab1e-54c7ac2f2976" providerId="ADAL" clId="{56F3CFAE-7241-4752-903A-D6C230C8EA12}" dt="2025-07-11T16:05:21.047" v="2091" actId="20577"/>
          <ac:spMkLst>
            <pc:docMk/>
            <pc:sldMk cId="3200312026" sldId="391"/>
            <ac:spMk id="9" creationId="{21BBFC22-5DB0-C2CD-C414-30F98B134DC8}"/>
          </ac:spMkLst>
        </pc:spChg>
        <pc:spChg chg="mod">
          <ac:chgData name="Ganasen, S. (Samantha)" userId="1aefe51b-8b5e-4f27-ab1e-54c7ac2f2976" providerId="ADAL" clId="{56F3CFAE-7241-4752-903A-D6C230C8EA12}" dt="2025-07-11T16:06:02.462" v="2126" actId="948"/>
          <ac:spMkLst>
            <pc:docMk/>
            <pc:sldMk cId="3200312026" sldId="391"/>
            <ac:spMk id="10" creationId="{7D6BF721-3AF9-EBAF-D099-BE564FD65911}"/>
          </ac:spMkLst>
        </pc:spChg>
        <pc:spChg chg="mod">
          <ac:chgData name="Ganasen, S. (Samantha)" userId="1aefe51b-8b5e-4f27-ab1e-54c7ac2f2976" providerId="ADAL" clId="{56F3CFAE-7241-4752-903A-D6C230C8EA12}" dt="2025-07-11T16:13:24.728" v="2582" actId="20577"/>
          <ac:spMkLst>
            <pc:docMk/>
            <pc:sldMk cId="3200312026" sldId="391"/>
            <ac:spMk id="12" creationId="{04045BF4-C4E2-63E1-3F4A-5B9E6A7DEF2A}"/>
          </ac:spMkLst>
        </pc:spChg>
        <pc:spChg chg="mod">
          <ac:chgData name="Ganasen, S. (Samantha)" userId="1aefe51b-8b5e-4f27-ab1e-54c7ac2f2976" providerId="ADAL" clId="{56F3CFAE-7241-4752-903A-D6C230C8EA12}" dt="2025-07-11T16:13:16.638" v="2581" actId="20577"/>
          <ac:spMkLst>
            <pc:docMk/>
            <pc:sldMk cId="3200312026" sldId="391"/>
            <ac:spMk id="14" creationId="{12E51677-482A-FE0D-2EFB-EDC36EA7B7AB}"/>
          </ac:spMkLst>
        </pc:spChg>
        <pc:spChg chg="mod">
          <ac:chgData name="Ganasen, S. (Samantha)" userId="1aefe51b-8b5e-4f27-ab1e-54c7ac2f2976" providerId="ADAL" clId="{56F3CFAE-7241-4752-903A-D6C230C8EA12}" dt="2025-07-11T16:04:21.747" v="2074" actId="207"/>
          <ac:spMkLst>
            <pc:docMk/>
            <pc:sldMk cId="3200312026" sldId="391"/>
            <ac:spMk id="15" creationId="{359ACF77-660F-2601-72AD-07EBC40AFFBC}"/>
          </ac:spMkLst>
        </pc:spChg>
        <pc:spChg chg="mod">
          <ac:chgData name="Ganasen, S. (Samantha)" userId="1aefe51b-8b5e-4f27-ab1e-54c7ac2f2976" providerId="ADAL" clId="{56F3CFAE-7241-4752-903A-D6C230C8EA12}" dt="2025-07-11T15:10:35.776" v="664" actId="1076"/>
          <ac:spMkLst>
            <pc:docMk/>
            <pc:sldMk cId="3200312026" sldId="391"/>
            <ac:spMk id="20" creationId="{7E473402-19FD-A5B0-5CB6-E5F3926D3828}"/>
          </ac:spMkLst>
        </pc:spChg>
        <pc:spChg chg="mod">
          <ac:chgData name="Ganasen, S. (Samantha)" userId="1aefe51b-8b5e-4f27-ab1e-54c7ac2f2976" providerId="ADAL" clId="{56F3CFAE-7241-4752-903A-D6C230C8EA12}" dt="2025-07-11T15:10:35.776" v="664" actId="1076"/>
          <ac:spMkLst>
            <pc:docMk/>
            <pc:sldMk cId="3200312026" sldId="391"/>
            <ac:spMk id="21" creationId="{879D1CAD-2EA2-9376-7B64-0C3AC590F651}"/>
          </ac:spMkLst>
        </pc:spChg>
        <pc:spChg chg="mod">
          <ac:chgData name="Ganasen, S. (Samantha)" userId="1aefe51b-8b5e-4f27-ab1e-54c7ac2f2976" providerId="ADAL" clId="{56F3CFAE-7241-4752-903A-D6C230C8EA12}" dt="2025-07-11T15:10:35.776" v="664" actId="1076"/>
          <ac:spMkLst>
            <pc:docMk/>
            <pc:sldMk cId="3200312026" sldId="391"/>
            <ac:spMk id="22" creationId="{B16F8906-918C-BE0B-A4AB-6A1D48150AC7}"/>
          </ac:spMkLst>
        </pc:spChg>
        <pc:spChg chg="mod">
          <ac:chgData name="Ganasen, S. (Samantha)" userId="1aefe51b-8b5e-4f27-ab1e-54c7ac2f2976" providerId="ADAL" clId="{56F3CFAE-7241-4752-903A-D6C230C8EA12}" dt="2025-07-11T16:04:15.633" v="2073" actId="207"/>
          <ac:spMkLst>
            <pc:docMk/>
            <pc:sldMk cId="3200312026" sldId="391"/>
            <ac:spMk id="24" creationId="{89B911FC-F7AD-C1A7-7E1A-60E2A60995B8}"/>
          </ac:spMkLst>
        </pc:spChg>
        <pc:spChg chg="mod">
          <ac:chgData name="Ganasen, S. (Samantha)" userId="1aefe51b-8b5e-4f27-ab1e-54c7ac2f2976" providerId="ADAL" clId="{56F3CFAE-7241-4752-903A-D6C230C8EA12}" dt="2025-07-11T16:04:26.380" v="2075" actId="207"/>
          <ac:spMkLst>
            <pc:docMk/>
            <pc:sldMk cId="3200312026" sldId="391"/>
            <ac:spMk id="28" creationId="{26B382A3-A25D-D56D-D912-FCE87A370E4C}"/>
          </ac:spMkLst>
        </pc:spChg>
        <pc:spChg chg="mod">
          <ac:chgData name="Ganasen, S. (Samantha)" userId="1aefe51b-8b5e-4f27-ab1e-54c7ac2f2976" providerId="ADAL" clId="{56F3CFAE-7241-4752-903A-D6C230C8EA12}" dt="2025-07-11T15:10:56.067" v="672" actId="1076"/>
          <ac:spMkLst>
            <pc:docMk/>
            <pc:sldMk cId="3200312026" sldId="391"/>
            <ac:spMk id="29" creationId="{93DE3A8C-046E-FEE3-F4B7-1EA400779F66}"/>
          </ac:spMkLst>
        </pc:spChg>
        <pc:spChg chg="add del mod modVis">
          <ac:chgData name="Ganasen, S. (Samantha)" userId="1aefe51b-8b5e-4f27-ab1e-54c7ac2f2976" providerId="ADAL" clId="{56F3CFAE-7241-4752-903A-D6C230C8EA12}" dt="2025-07-11T14:58:16.781" v="234"/>
          <ac:spMkLst>
            <pc:docMk/>
            <pc:sldMk cId="3200312026" sldId="391"/>
            <ac:spMk id="39" creationId="{91A491F9-1281-A9F6-A558-9E5D00C061CB}"/>
          </ac:spMkLst>
        </pc:spChg>
        <pc:spChg chg="add del mod">
          <ac:chgData name="Ganasen, S. (Samantha)" userId="1aefe51b-8b5e-4f27-ab1e-54c7ac2f2976" providerId="ADAL" clId="{56F3CFAE-7241-4752-903A-D6C230C8EA12}" dt="2025-07-11T15:10:56.933" v="673"/>
          <ac:spMkLst>
            <pc:docMk/>
            <pc:sldMk cId="3200312026" sldId="391"/>
            <ac:spMk id="40" creationId="{ED78A8F9-AAFA-541A-A5F1-CC8E4589B1ED}"/>
          </ac:spMkLst>
        </pc:spChg>
        <pc:spChg chg="add mod">
          <ac:chgData name="Ganasen, S. (Samantha)" userId="1aefe51b-8b5e-4f27-ab1e-54c7ac2f2976" providerId="ADAL" clId="{56F3CFAE-7241-4752-903A-D6C230C8EA12}" dt="2025-07-11T15:10:53.845" v="668"/>
          <ac:spMkLst>
            <pc:docMk/>
            <pc:sldMk cId="3200312026" sldId="391"/>
            <ac:spMk id="41" creationId="{1FE75283-1317-C388-B86D-E8DDEF1C44D3}"/>
          </ac:spMkLst>
        </pc:spChg>
        <pc:spChg chg="add del mod modVis">
          <ac:chgData name="Ganasen, S. (Samantha)" userId="1aefe51b-8b5e-4f27-ab1e-54c7ac2f2976" providerId="ADAL" clId="{56F3CFAE-7241-4752-903A-D6C230C8EA12}" dt="2025-07-11T15:12:18.391" v="705"/>
          <ac:spMkLst>
            <pc:docMk/>
            <pc:sldMk cId="3200312026" sldId="391"/>
            <ac:spMk id="42" creationId="{326AFE75-319B-F947-83EA-F7740C445A76}"/>
          </ac:spMkLst>
        </pc:spChg>
        <pc:grpChg chg="mod">
          <ac:chgData name="Ganasen, S. (Samantha)" userId="1aefe51b-8b5e-4f27-ab1e-54c7ac2f2976" providerId="ADAL" clId="{56F3CFAE-7241-4752-903A-D6C230C8EA12}" dt="2025-07-11T15:10:35.776" v="664" actId="1076"/>
          <ac:grpSpMkLst>
            <pc:docMk/>
            <pc:sldMk cId="3200312026" sldId="391"/>
            <ac:grpSpMk id="19" creationId="{C78CEA4F-D72A-C069-6A51-328B103CA0CA}"/>
          </ac:grpSpMkLst>
        </pc:grpChg>
        <pc:graphicFrameChg chg="mod">
          <ac:chgData name="Ganasen, S. (Samantha)" userId="1aefe51b-8b5e-4f27-ab1e-54c7ac2f2976" providerId="ADAL" clId="{56F3CFAE-7241-4752-903A-D6C230C8EA12}" dt="2025-07-11T16:06:02.520" v="2151"/>
          <ac:graphicFrameMkLst>
            <pc:docMk/>
            <pc:sldMk cId="3200312026" sldId="391"/>
            <ac:graphicFrameMk id="8" creationId="{AA8FE4C0-6AF0-10BE-3090-E5F5E02AE8C8}"/>
          </ac:graphicFrameMkLst>
        </pc:graphicFrameChg>
        <pc:picChg chg="mod">
          <ac:chgData name="Ganasen, S. (Samantha)" userId="1aefe51b-8b5e-4f27-ab1e-54c7ac2f2976" providerId="ADAL" clId="{56F3CFAE-7241-4752-903A-D6C230C8EA12}" dt="2025-07-11T15:10:56.067" v="672" actId="1076"/>
          <ac:picMkLst>
            <pc:docMk/>
            <pc:sldMk cId="3200312026" sldId="391"/>
            <ac:picMk id="11" creationId="{EEEF3A2F-47D2-F189-C091-7C605701461F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16" creationId="{95613F46-206D-5F3E-5F2C-F1E6BF277C0E}"/>
          </ac:picMkLst>
        </pc:picChg>
        <pc:picChg chg="mod">
          <ac:chgData name="Ganasen, S. (Samantha)" userId="1aefe51b-8b5e-4f27-ab1e-54c7ac2f2976" providerId="ADAL" clId="{56F3CFAE-7241-4752-903A-D6C230C8EA12}" dt="2025-07-11T16:05:41.433" v="2124" actId="1038"/>
          <ac:picMkLst>
            <pc:docMk/>
            <pc:sldMk cId="3200312026" sldId="391"/>
            <ac:picMk id="17" creationId="{0A9B2CFC-F37C-E37C-3062-17572EC39FE3}"/>
          </ac:picMkLst>
        </pc:picChg>
        <pc:picChg chg="mod">
          <ac:chgData name="Ganasen, S. (Samantha)" userId="1aefe51b-8b5e-4f27-ab1e-54c7ac2f2976" providerId="ADAL" clId="{56F3CFAE-7241-4752-903A-D6C230C8EA12}" dt="2025-07-11T16:05:41.433" v="2124" actId="1038"/>
          <ac:picMkLst>
            <pc:docMk/>
            <pc:sldMk cId="3200312026" sldId="391"/>
            <ac:picMk id="18" creationId="{6FE7CD61-E92C-21FF-8910-4773AB68DAA3}"/>
          </ac:picMkLst>
        </pc:picChg>
        <pc:picChg chg="mod">
          <ac:chgData name="Ganasen, S. (Samantha)" userId="1aefe51b-8b5e-4f27-ab1e-54c7ac2f2976" providerId="ADAL" clId="{56F3CFAE-7241-4752-903A-D6C230C8EA12}" dt="2025-07-11T16:05:41.433" v="2124" actId="1038"/>
          <ac:picMkLst>
            <pc:docMk/>
            <pc:sldMk cId="3200312026" sldId="391"/>
            <ac:picMk id="23" creationId="{81E096B2-F691-8FAC-5846-1A2B51E0BF66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25" creationId="{B6344FF5-9564-8F3E-064F-7E5C917BD8DC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26" creationId="{145F8025-2552-DB7D-AC53-7364CDA17807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27" creationId="{8155F58A-D2EE-35CE-4311-600E9CA90B9D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30" creationId="{E1829F61-587E-67A2-B55E-E5F97F5BD8A5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32" creationId="{009E0680-2858-786F-A15D-915FD26CBADA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33" creationId="{CCB085A8-C72A-6D21-C9E0-1314F4736BF2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34" creationId="{B34CBDE1-BC1D-A170-FFE8-B3C2D5AA6F7C}"/>
          </ac:picMkLst>
        </pc:picChg>
        <pc:picChg chg="mod">
          <ac:chgData name="Ganasen, S. (Samantha)" userId="1aefe51b-8b5e-4f27-ab1e-54c7ac2f2976" providerId="ADAL" clId="{56F3CFAE-7241-4752-903A-D6C230C8EA12}" dt="2025-07-11T15:13:17.583" v="721" actId="1076"/>
          <ac:picMkLst>
            <pc:docMk/>
            <pc:sldMk cId="3200312026" sldId="391"/>
            <ac:picMk id="35" creationId="{1A727A96-DF9A-E28E-7F63-DDA8C5F49D1F}"/>
          </ac:picMkLst>
        </pc:picChg>
        <pc:picChg chg="mod">
          <ac:chgData name="Ganasen, S. (Samantha)" userId="1aefe51b-8b5e-4f27-ab1e-54c7ac2f2976" providerId="ADAL" clId="{56F3CFAE-7241-4752-903A-D6C230C8EA12}" dt="2025-07-11T16:05:41.433" v="2124" actId="1038"/>
          <ac:picMkLst>
            <pc:docMk/>
            <pc:sldMk cId="3200312026" sldId="391"/>
            <ac:picMk id="36" creationId="{6C4C57AD-2554-6CFA-AC34-CBB4C6EEB6A4}"/>
          </ac:picMkLst>
        </pc:picChg>
        <pc:picChg chg="mod">
          <ac:chgData name="Ganasen, S. (Samantha)" userId="1aefe51b-8b5e-4f27-ab1e-54c7ac2f2976" providerId="ADAL" clId="{56F3CFAE-7241-4752-903A-D6C230C8EA12}" dt="2025-07-11T16:05:41.433" v="2124" actId="1038"/>
          <ac:picMkLst>
            <pc:docMk/>
            <pc:sldMk cId="3200312026" sldId="391"/>
            <ac:picMk id="37" creationId="{97FC0B78-9107-D26E-9B34-0F369397A0F8}"/>
          </ac:picMkLst>
        </pc:picChg>
        <pc:picChg chg="mod">
          <ac:chgData name="Ganasen, S. (Samantha)" userId="1aefe51b-8b5e-4f27-ab1e-54c7ac2f2976" providerId="ADAL" clId="{56F3CFAE-7241-4752-903A-D6C230C8EA12}" dt="2025-07-11T16:05:41.433" v="2124" actId="1038"/>
          <ac:picMkLst>
            <pc:docMk/>
            <pc:sldMk cId="3200312026" sldId="391"/>
            <ac:picMk id="38" creationId="{DCBFF820-F94D-EC23-B255-C516AF2539E3}"/>
          </ac:picMkLst>
        </pc:picChg>
        <pc:picChg chg="add mod">
          <ac:chgData name="Ganasen, S. (Samantha)" userId="1aefe51b-8b5e-4f27-ab1e-54c7ac2f2976" providerId="ADAL" clId="{56F3CFAE-7241-4752-903A-D6C230C8EA12}" dt="2025-07-11T15:14:32.011" v="727" actId="1076"/>
          <ac:picMkLst>
            <pc:docMk/>
            <pc:sldMk cId="3200312026" sldId="391"/>
            <ac:picMk id="44" creationId="{CCC3AF0E-44EC-7772-CEDB-168EBB5F7E45}"/>
          </ac:picMkLst>
        </pc:picChg>
        <pc:picChg chg="add mod">
          <ac:chgData name="Ganasen, S. (Samantha)" userId="1aefe51b-8b5e-4f27-ab1e-54c7ac2f2976" providerId="ADAL" clId="{56F3CFAE-7241-4752-903A-D6C230C8EA12}" dt="2025-07-11T15:14:39.985" v="729" actId="1076"/>
          <ac:picMkLst>
            <pc:docMk/>
            <pc:sldMk cId="3200312026" sldId="391"/>
            <ac:picMk id="46" creationId="{63476902-5379-011E-B56E-05C8EC8F59D1}"/>
          </ac:picMkLst>
        </pc:picChg>
        <pc:picChg chg="add mod">
          <ac:chgData name="Ganasen, S. (Samantha)" userId="1aefe51b-8b5e-4f27-ab1e-54c7ac2f2976" providerId="ADAL" clId="{56F3CFAE-7241-4752-903A-D6C230C8EA12}" dt="2025-07-11T15:15:15.896" v="732" actId="1076"/>
          <ac:picMkLst>
            <pc:docMk/>
            <pc:sldMk cId="3200312026" sldId="391"/>
            <ac:picMk id="48" creationId="{2999DA5F-9433-7439-24EF-87D92972BDF9}"/>
          </ac:picMkLst>
        </pc:picChg>
        <pc:cxnChg chg="mod">
          <ac:chgData name="Ganasen, S. (Samantha)" userId="1aefe51b-8b5e-4f27-ab1e-54c7ac2f2976" providerId="ADAL" clId="{56F3CFAE-7241-4752-903A-D6C230C8EA12}" dt="2025-07-11T15:15:45.049" v="734" actId="1076"/>
          <ac:cxnSpMkLst>
            <pc:docMk/>
            <pc:sldMk cId="3200312026" sldId="391"/>
            <ac:cxnSpMk id="13" creationId="{BCF21618-AF16-88EA-5200-818856813B25}"/>
          </ac:cxnSpMkLst>
        </pc:cxnChg>
      </pc:sldChg>
      <pc:sldChg chg="addSp delSp modSp mod">
        <pc:chgData name="Ganasen, S. (Samantha)" userId="1aefe51b-8b5e-4f27-ab1e-54c7ac2f2976" providerId="ADAL" clId="{56F3CFAE-7241-4752-903A-D6C230C8EA12}" dt="2025-07-11T16:12:34.697" v="2579"/>
        <pc:sldMkLst>
          <pc:docMk/>
          <pc:sldMk cId="4261132419" sldId="398"/>
        </pc:sldMkLst>
        <pc:spChg chg="mod">
          <ac:chgData name="Ganasen, S. (Samantha)" userId="1aefe51b-8b5e-4f27-ab1e-54c7ac2f2976" providerId="ADAL" clId="{56F3CFAE-7241-4752-903A-D6C230C8EA12}" dt="2025-07-11T16:12:34.557" v="2554" actId="948"/>
          <ac:spMkLst>
            <pc:docMk/>
            <pc:sldMk cId="4261132419" sldId="398"/>
            <ac:spMk id="2" creationId="{F810C1B7-6E4E-3DEE-50C0-1CA3B14303EE}"/>
          </ac:spMkLst>
        </pc:spChg>
        <pc:spChg chg="add del mod modVis">
          <ac:chgData name="Ganasen, S. (Samantha)" userId="1aefe51b-8b5e-4f27-ab1e-54c7ac2f2976" providerId="ADAL" clId="{56F3CFAE-7241-4752-903A-D6C230C8EA12}" dt="2025-07-11T16:02:14.318" v="1667"/>
          <ac:spMkLst>
            <pc:docMk/>
            <pc:sldMk cId="4261132419" sldId="398"/>
            <ac:spMk id="3" creationId="{2BE9BC4D-DE6F-C85C-0C28-7D12284E9DED}"/>
          </ac:spMkLst>
        </pc:spChg>
        <pc:spChg chg="add del mod modVis">
          <ac:chgData name="Ganasen, S. (Samantha)" userId="1aefe51b-8b5e-4f27-ab1e-54c7ac2f2976" providerId="ADAL" clId="{56F3CFAE-7241-4752-903A-D6C230C8EA12}" dt="2025-07-11T16:03:33.689" v="1984"/>
          <ac:spMkLst>
            <pc:docMk/>
            <pc:sldMk cId="4261132419" sldId="398"/>
            <ac:spMk id="4" creationId="{E5F4E447-637E-26A0-BC1D-267EF749F3E2}"/>
          </ac:spMkLst>
        </pc:spChg>
        <pc:spChg chg="add del mod modVis">
          <ac:chgData name="Ganasen, S. (Samantha)" userId="1aefe51b-8b5e-4f27-ab1e-54c7ac2f2976" providerId="ADAL" clId="{56F3CFAE-7241-4752-903A-D6C230C8EA12}" dt="2025-07-11T16:12:34.691" v="2577"/>
          <ac:spMkLst>
            <pc:docMk/>
            <pc:sldMk cId="4261132419" sldId="398"/>
            <ac:spMk id="5" creationId="{1EC589FC-FF93-E8BD-44CC-7F734E8E82D1}"/>
          </ac:spMkLst>
        </pc:spChg>
        <pc:spChg chg="add del mod modVis">
          <ac:chgData name="Ganasen, S. (Samantha)" userId="1aefe51b-8b5e-4f27-ab1e-54c7ac2f2976" providerId="ADAL" clId="{56F3CFAE-7241-4752-903A-D6C230C8EA12}" dt="2025-07-11T15:00:22.482" v="540"/>
          <ac:spMkLst>
            <pc:docMk/>
            <pc:sldMk cId="4261132419" sldId="398"/>
            <ac:spMk id="6" creationId="{CC734B28-2B39-6FAE-C550-5CD0BCD30541}"/>
          </ac:spMkLst>
        </pc:spChg>
        <pc:spChg chg="add del mod modVis">
          <ac:chgData name="Ganasen, S. (Samantha)" userId="1aefe51b-8b5e-4f27-ab1e-54c7ac2f2976" providerId="ADAL" clId="{56F3CFAE-7241-4752-903A-D6C230C8EA12}" dt="2025-07-11T15:00:25.976" v="580"/>
          <ac:spMkLst>
            <pc:docMk/>
            <pc:sldMk cId="4261132419" sldId="398"/>
            <ac:spMk id="8" creationId="{470E4D5F-6D2E-13F9-62F2-9D80652BC9A7}"/>
          </ac:spMkLst>
        </pc:spChg>
        <pc:spChg chg="add del mod modVis">
          <ac:chgData name="Ganasen, S. (Samantha)" userId="1aefe51b-8b5e-4f27-ab1e-54c7ac2f2976" providerId="ADAL" clId="{56F3CFAE-7241-4752-903A-D6C230C8EA12}" dt="2025-07-11T15:00:28.558" v="610"/>
          <ac:spMkLst>
            <pc:docMk/>
            <pc:sldMk cId="4261132419" sldId="398"/>
            <ac:spMk id="9" creationId="{57B07D81-566C-A324-DF11-526D98ED54F4}"/>
          </ac:spMkLst>
        </pc:spChg>
        <pc:graphicFrameChg chg="add mod ord modVis">
          <ac:chgData name="Ganasen, S. (Samantha)" userId="1aefe51b-8b5e-4f27-ab1e-54c7ac2f2976" providerId="ADAL" clId="{56F3CFAE-7241-4752-903A-D6C230C8EA12}" dt="2025-07-11T16:12:34.697" v="2579"/>
          <ac:graphicFrameMkLst>
            <pc:docMk/>
            <pc:sldMk cId="4261132419" sldId="398"/>
            <ac:graphicFrameMk id="7" creationId="{F7BCE8E6-F635-7499-91C0-083AB0D70326}"/>
          </ac:graphicFrameMkLst>
        </pc:graphicFrameChg>
      </pc:sldChg>
      <pc:sldChg chg="addSp delSp modSp mod">
        <pc:chgData name="Ganasen, S. (Samantha)" userId="1aefe51b-8b5e-4f27-ab1e-54c7ac2f2976" providerId="ADAL" clId="{56F3CFAE-7241-4752-903A-D6C230C8EA12}" dt="2025-07-11T16:12:02.101" v="2411"/>
        <pc:sldMkLst>
          <pc:docMk/>
          <pc:sldMk cId="1850768898" sldId="404"/>
        </pc:sldMkLst>
        <pc:spChg chg="add del mod modVis">
          <ac:chgData name="Ganasen, S. (Samantha)" userId="1aefe51b-8b5e-4f27-ab1e-54c7ac2f2976" providerId="ADAL" clId="{56F3CFAE-7241-4752-903A-D6C230C8EA12}" dt="2025-07-11T16:02:14.344" v="1679"/>
          <ac:spMkLst>
            <pc:docMk/>
            <pc:sldMk cId="1850768898" sldId="404"/>
            <ac:spMk id="2" creationId="{A2AAC6CA-C9F1-9987-EE89-F68FE216CFCB}"/>
          </ac:spMkLst>
        </pc:spChg>
        <pc:spChg chg="add del mod modVis">
          <ac:chgData name="Ganasen, S. (Samantha)" userId="1aefe51b-8b5e-4f27-ab1e-54c7ac2f2976" providerId="ADAL" clId="{56F3CFAE-7241-4752-903A-D6C230C8EA12}" dt="2025-07-11T16:03:33.702" v="1996"/>
          <ac:spMkLst>
            <pc:docMk/>
            <pc:sldMk cId="1850768898" sldId="404"/>
            <ac:spMk id="3" creationId="{BC591F38-E3A7-7BF9-85C5-FAAFF9D306A3}"/>
          </ac:spMkLst>
        </pc:spChg>
        <pc:spChg chg="add del mod modVis">
          <ac:chgData name="Ganasen, S. (Samantha)" userId="1aefe51b-8b5e-4f27-ab1e-54c7ac2f2976" providerId="ADAL" clId="{56F3CFAE-7241-4752-903A-D6C230C8EA12}" dt="2025-07-11T16:12:02.098" v="2409"/>
          <ac:spMkLst>
            <pc:docMk/>
            <pc:sldMk cId="1850768898" sldId="404"/>
            <ac:spMk id="4" creationId="{3C52AECD-DE43-2FB3-A429-367062594A2F}"/>
          </ac:spMkLst>
        </pc:spChg>
        <pc:spChg chg="mod">
          <ac:chgData name="Ganasen, S. (Samantha)" userId="1aefe51b-8b5e-4f27-ab1e-54c7ac2f2976" providerId="ADAL" clId="{56F3CFAE-7241-4752-903A-D6C230C8EA12}" dt="2025-07-11T16:12:02.072" v="2386" actId="948"/>
          <ac:spMkLst>
            <pc:docMk/>
            <pc:sldMk cId="1850768898" sldId="404"/>
            <ac:spMk id="12" creationId="{6B081371-457A-59EE-8A9D-52CB49914428}"/>
          </ac:spMkLst>
        </pc:spChg>
        <pc:spChg chg="mod">
          <ac:chgData name="Ganasen, S. (Samantha)" userId="1aefe51b-8b5e-4f27-ab1e-54c7ac2f2976" providerId="ADAL" clId="{56F3CFAE-7241-4752-903A-D6C230C8EA12}" dt="2025-07-11T15:51:04.518" v="1357" actId="5793"/>
          <ac:spMkLst>
            <pc:docMk/>
            <pc:sldMk cId="1850768898" sldId="404"/>
            <ac:spMk id="13" creationId="{0887485B-9B52-90B7-6786-B0B57C7FC540}"/>
          </ac:spMkLst>
        </pc:spChg>
        <pc:spChg chg="add del mod modVis">
          <ac:chgData name="Ganasen, S. (Samantha)" userId="1aefe51b-8b5e-4f27-ab1e-54c7ac2f2976" providerId="ADAL" clId="{56F3CFAE-7241-4752-903A-D6C230C8EA12}" dt="2025-07-11T14:59:02.162" v="369"/>
          <ac:spMkLst>
            <pc:docMk/>
            <pc:sldMk cId="1850768898" sldId="404"/>
            <ac:spMk id="15" creationId="{134170B1-E2FE-2293-236D-28B9B5E7262F}"/>
          </ac:spMkLst>
        </pc:spChg>
        <pc:spChg chg="add del mod modVis">
          <ac:chgData name="Ganasen, S. (Samantha)" userId="1aefe51b-8b5e-4f27-ab1e-54c7ac2f2976" providerId="ADAL" clId="{56F3CFAE-7241-4752-903A-D6C230C8EA12}" dt="2025-07-11T15:44:24.209" v="1160"/>
          <ac:spMkLst>
            <pc:docMk/>
            <pc:sldMk cId="1850768898" sldId="404"/>
            <ac:spMk id="17" creationId="{4312AE7E-42B4-C7A7-51AD-74648015C6BD}"/>
          </ac:spMkLst>
        </pc:spChg>
        <pc:graphicFrameChg chg="mod">
          <ac:chgData name="Ganasen, S. (Samantha)" userId="1aefe51b-8b5e-4f27-ab1e-54c7ac2f2976" providerId="ADAL" clId="{56F3CFAE-7241-4752-903A-D6C230C8EA12}" dt="2025-07-11T16:12:02.101" v="2411"/>
          <ac:graphicFrameMkLst>
            <pc:docMk/>
            <pc:sldMk cId="1850768898" sldId="404"/>
            <ac:graphicFrameMk id="11" creationId="{D9CC7B8B-7765-FFA9-C11A-6F16EA2E3475}"/>
          </ac:graphicFrameMkLst>
        </pc:graphicFrameChg>
      </pc:sldChg>
      <pc:sldChg chg="addSp delSp modSp mod">
        <pc:chgData name="Ganasen, S. (Samantha)" userId="1aefe51b-8b5e-4f27-ab1e-54c7ac2f2976" providerId="ADAL" clId="{56F3CFAE-7241-4752-903A-D6C230C8EA12}" dt="2025-07-11T16:12:25.006" v="2525"/>
        <pc:sldMkLst>
          <pc:docMk/>
          <pc:sldMk cId="4127695141" sldId="405"/>
        </pc:sldMkLst>
        <pc:spChg chg="add del mod modVis">
          <ac:chgData name="Ganasen, S. (Samantha)" userId="1aefe51b-8b5e-4f27-ab1e-54c7ac2f2976" providerId="ADAL" clId="{56F3CFAE-7241-4752-903A-D6C230C8EA12}" dt="2025-07-11T16:02:14.353" v="1687"/>
          <ac:spMkLst>
            <pc:docMk/>
            <pc:sldMk cId="4127695141" sldId="405"/>
            <ac:spMk id="2" creationId="{CED9644D-7B1D-AF6E-E6B5-DDD2ED9EB562}"/>
          </ac:spMkLst>
        </pc:spChg>
        <pc:spChg chg="add del mod modVis">
          <ac:chgData name="Ganasen, S. (Samantha)" userId="1aefe51b-8b5e-4f27-ab1e-54c7ac2f2976" providerId="ADAL" clId="{56F3CFAE-7241-4752-903A-D6C230C8EA12}" dt="2025-07-11T16:03:33.708" v="2004"/>
          <ac:spMkLst>
            <pc:docMk/>
            <pc:sldMk cId="4127695141" sldId="405"/>
            <ac:spMk id="3" creationId="{B501F1D7-57DF-D34C-80E6-EE1103E792E4}"/>
          </ac:spMkLst>
        </pc:spChg>
        <pc:spChg chg="add del mod modVis">
          <ac:chgData name="Ganasen, S. (Samantha)" userId="1aefe51b-8b5e-4f27-ab1e-54c7ac2f2976" providerId="ADAL" clId="{56F3CFAE-7241-4752-903A-D6C230C8EA12}" dt="2025-07-11T16:12:13.474" v="2490"/>
          <ac:spMkLst>
            <pc:docMk/>
            <pc:sldMk cId="4127695141" sldId="405"/>
            <ac:spMk id="4" creationId="{96C80AF8-7CF2-BFF1-8714-C5D97F4C3A52}"/>
          </ac:spMkLst>
        </pc:spChg>
        <pc:spChg chg="add del mod modVis">
          <ac:chgData name="Ganasen, S. (Samantha)" userId="1aefe51b-8b5e-4f27-ab1e-54c7ac2f2976" providerId="ADAL" clId="{56F3CFAE-7241-4752-903A-D6C230C8EA12}" dt="2025-07-11T16:12:25.003" v="2523"/>
          <ac:spMkLst>
            <pc:docMk/>
            <pc:sldMk cId="4127695141" sldId="405"/>
            <ac:spMk id="5" creationId="{1BAAEFF2-C32E-7A3A-CE50-953BC9597D2F}"/>
          </ac:spMkLst>
        </pc:spChg>
        <pc:spChg chg="mod">
          <ac:chgData name="Ganasen, S. (Samantha)" userId="1aefe51b-8b5e-4f27-ab1e-54c7ac2f2976" providerId="ADAL" clId="{56F3CFAE-7241-4752-903A-D6C230C8EA12}" dt="2025-07-11T16:12:24.977" v="2500" actId="948"/>
          <ac:spMkLst>
            <pc:docMk/>
            <pc:sldMk cId="4127695141" sldId="405"/>
            <ac:spMk id="22" creationId="{9A89D80B-49B8-16AD-96C6-524234A73B3C}"/>
          </ac:spMkLst>
        </pc:spChg>
        <pc:spChg chg="mod">
          <ac:chgData name="Ganasen, S. (Samantha)" userId="1aefe51b-8b5e-4f27-ab1e-54c7ac2f2976" providerId="ADAL" clId="{56F3CFAE-7241-4752-903A-D6C230C8EA12}" dt="2025-07-11T15:29:23.959" v="891" actId="403"/>
          <ac:spMkLst>
            <pc:docMk/>
            <pc:sldMk cId="4127695141" sldId="405"/>
            <ac:spMk id="23" creationId="{0A21CFB1-43E3-AB21-B8DF-C887D34EB876}"/>
          </ac:spMkLst>
        </pc:spChg>
        <pc:spChg chg="mod">
          <ac:chgData name="Ganasen, S. (Samantha)" userId="1aefe51b-8b5e-4f27-ab1e-54c7ac2f2976" providerId="ADAL" clId="{56F3CFAE-7241-4752-903A-D6C230C8EA12}" dt="2025-07-11T16:12:21.674" v="2498" actId="207"/>
          <ac:spMkLst>
            <pc:docMk/>
            <pc:sldMk cId="4127695141" sldId="405"/>
            <ac:spMk id="24" creationId="{2B729965-7EF6-AF32-2195-D031E985C8E1}"/>
          </ac:spMkLst>
        </pc:spChg>
        <pc:spChg chg="mod">
          <ac:chgData name="Ganasen, S. (Samantha)" userId="1aefe51b-8b5e-4f27-ab1e-54c7ac2f2976" providerId="ADAL" clId="{56F3CFAE-7241-4752-903A-D6C230C8EA12}" dt="2025-07-11T15:29:32.608" v="893" actId="1076"/>
          <ac:spMkLst>
            <pc:docMk/>
            <pc:sldMk cId="4127695141" sldId="405"/>
            <ac:spMk id="25" creationId="{42757243-A414-159F-D67C-0872145A1C06}"/>
          </ac:spMkLst>
        </pc:spChg>
        <pc:spChg chg="add del mod modVis">
          <ac:chgData name="Ganasen, S. (Samantha)" userId="1aefe51b-8b5e-4f27-ab1e-54c7ac2f2976" providerId="ADAL" clId="{56F3CFAE-7241-4752-903A-D6C230C8EA12}" dt="2025-07-11T14:59:31.077" v="503"/>
          <ac:spMkLst>
            <pc:docMk/>
            <pc:sldMk cId="4127695141" sldId="405"/>
            <ac:spMk id="26" creationId="{B5250C8C-EF1A-E4C2-3E71-89A34276C620}"/>
          </ac:spMkLst>
        </pc:spChg>
        <pc:spChg chg="add del mod modVis">
          <ac:chgData name="Ganasen, S. (Samantha)" userId="1aefe51b-8b5e-4f27-ab1e-54c7ac2f2976" providerId="ADAL" clId="{56F3CFAE-7241-4752-903A-D6C230C8EA12}" dt="2025-07-11T15:44:33.881" v="1218"/>
          <ac:spMkLst>
            <pc:docMk/>
            <pc:sldMk cId="4127695141" sldId="405"/>
            <ac:spMk id="28" creationId="{EAF5321D-629B-AEBB-3F46-0D853732545A}"/>
          </ac:spMkLst>
        </pc:spChg>
        <pc:graphicFrameChg chg="mod">
          <ac:chgData name="Ganasen, S. (Samantha)" userId="1aefe51b-8b5e-4f27-ab1e-54c7ac2f2976" providerId="ADAL" clId="{56F3CFAE-7241-4752-903A-D6C230C8EA12}" dt="2025-07-11T16:12:25.006" v="2525"/>
          <ac:graphicFrameMkLst>
            <pc:docMk/>
            <pc:sldMk cId="4127695141" sldId="405"/>
            <ac:graphicFrameMk id="11" creationId="{FCCB015D-8B57-436C-3036-EA7D6C04A0CF}"/>
          </ac:graphicFrameMkLst>
        </pc:graphicFrameChg>
      </pc:sldChg>
      <pc:sldChg chg="addSp delSp modSp del mod">
        <pc:chgData name="Ganasen, S. (Samantha)" userId="1aefe51b-8b5e-4f27-ab1e-54c7ac2f2976" providerId="ADAL" clId="{56F3CFAE-7241-4752-903A-D6C230C8EA12}" dt="2025-07-11T15:43:31.419" v="1043" actId="47"/>
        <pc:sldMkLst>
          <pc:docMk/>
          <pc:sldMk cId="3088225330" sldId="407"/>
        </pc:sldMkLst>
        <pc:spChg chg="mod">
          <ac:chgData name="Ganasen, S. (Samantha)" userId="1aefe51b-8b5e-4f27-ab1e-54c7ac2f2976" providerId="ADAL" clId="{56F3CFAE-7241-4752-903A-D6C230C8EA12}" dt="2025-07-11T14:58:49.244" v="292" actId="948"/>
          <ac:spMkLst>
            <pc:docMk/>
            <pc:sldMk cId="3088225330" sldId="407"/>
            <ac:spMk id="12" creationId="{7FA6B9B6-9162-4D1D-5018-8C69A41CFD83}"/>
          </ac:spMkLst>
        </pc:spChg>
        <pc:spChg chg="mod">
          <ac:chgData name="Ganasen, S. (Samantha)" userId="1aefe51b-8b5e-4f27-ab1e-54c7ac2f2976" providerId="ADAL" clId="{56F3CFAE-7241-4752-903A-D6C230C8EA12}" dt="2025-07-11T15:42:03.346" v="1034" actId="1076"/>
          <ac:spMkLst>
            <pc:docMk/>
            <pc:sldMk cId="3088225330" sldId="407"/>
            <ac:spMk id="13" creationId="{0ABA0D3E-6018-59B4-A7BA-769CE9380258}"/>
          </ac:spMkLst>
        </pc:spChg>
        <pc:spChg chg="mod">
          <ac:chgData name="Ganasen, S. (Samantha)" userId="1aefe51b-8b5e-4f27-ab1e-54c7ac2f2976" providerId="ADAL" clId="{56F3CFAE-7241-4752-903A-D6C230C8EA12}" dt="2025-07-11T15:42:13.252" v="1037" actId="14100"/>
          <ac:spMkLst>
            <pc:docMk/>
            <pc:sldMk cId="3088225330" sldId="407"/>
            <ac:spMk id="14" creationId="{CD0ACBC6-06C6-304E-3337-E35F44FD9218}"/>
          </ac:spMkLst>
        </pc:spChg>
        <pc:spChg chg="del mod">
          <ac:chgData name="Ganasen, S. (Samantha)" userId="1aefe51b-8b5e-4f27-ab1e-54c7ac2f2976" providerId="ADAL" clId="{56F3CFAE-7241-4752-903A-D6C230C8EA12}" dt="2025-07-11T15:40:15.274" v="1020" actId="478"/>
          <ac:spMkLst>
            <pc:docMk/>
            <pc:sldMk cId="3088225330" sldId="407"/>
            <ac:spMk id="15" creationId="{14C4ECCB-492C-1CAD-5792-A9982A0D03AA}"/>
          </ac:spMkLst>
        </pc:spChg>
        <pc:spChg chg="del mod">
          <ac:chgData name="Ganasen, S. (Samantha)" userId="1aefe51b-8b5e-4f27-ab1e-54c7ac2f2976" providerId="ADAL" clId="{56F3CFAE-7241-4752-903A-D6C230C8EA12}" dt="2025-07-11T15:42:49.508" v="1038" actId="21"/>
          <ac:spMkLst>
            <pc:docMk/>
            <pc:sldMk cId="3088225330" sldId="407"/>
            <ac:spMk id="16" creationId="{1B1F0B3A-8B92-FD59-92A3-0A06C2CB9B8C}"/>
          </ac:spMkLst>
        </pc:spChg>
        <pc:spChg chg="add del mod modVis">
          <ac:chgData name="Ganasen, S. (Samantha)" userId="1aefe51b-8b5e-4f27-ab1e-54c7ac2f2976" providerId="ADAL" clId="{56F3CFAE-7241-4752-903A-D6C230C8EA12}" dt="2025-07-11T14:58:49.267" v="315"/>
          <ac:spMkLst>
            <pc:docMk/>
            <pc:sldMk cId="3088225330" sldId="407"/>
            <ac:spMk id="22" creationId="{50031DF0-95FC-A060-BA60-7805E88FC6CC}"/>
          </ac:spMkLst>
        </pc:spChg>
        <pc:graphicFrameChg chg="mod">
          <ac:chgData name="Ganasen, S. (Samantha)" userId="1aefe51b-8b5e-4f27-ab1e-54c7ac2f2976" providerId="ADAL" clId="{56F3CFAE-7241-4752-903A-D6C230C8EA12}" dt="2025-07-11T14:58:49.268" v="317"/>
          <ac:graphicFrameMkLst>
            <pc:docMk/>
            <pc:sldMk cId="3088225330" sldId="407"/>
            <ac:graphicFrameMk id="11" creationId="{07658423-4F50-F63B-EFF1-F1E1CA9E05DC}"/>
          </ac:graphicFrameMkLst>
        </pc:graphicFrameChg>
        <pc:picChg chg="mod">
          <ac:chgData name="Ganasen, S. (Samantha)" userId="1aefe51b-8b5e-4f27-ab1e-54c7ac2f2976" providerId="ADAL" clId="{56F3CFAE-7241-4752-903A-D6C230C8EA12}" dt="2025-07-11T15:40:30.456" v="1023" actId="1076"/>
          <ac:picMkLst>
            <pc:docMk/>
            <pc:sldMk cId="3088225330" sldId="407"/>
            <ac:picMk id="17" creationId="{2189A38D-4867-EBFC-02F8-5C5F4C535632}"/>
          </ac:picMkLst>
        </pc:picChg>
        <pc:picChg chg="mod">
          <ac:chgData name="Ganasen, S. (Samantha)" userId="1aefe51b-8b5e-4f27-ab1e-54c7ac2f2976" providerId="ADAL" clId="{56F3CFAE-7241-4752-903A-D6C230C8EA12}" dt="2025-07-11T15:41:39.689" v="1030" actId="1076"/>
          <ac:picMkLst>
            <pc:docMk/>
            <pc:sldMk cId="3088225330" sldId="407"/>
            <ac:picMk id="18" creationId="{268A684A-A4F3-5199-CA17-5D49744586C8}"/>
          </ac:picMkLst>
        </pc:picChg>
        <pc:picChg chg="mod">
          <ac:chgData name="Ganasen, S. (Samantha)" userId="1aefe51b-8b5e-4f27-ab1e-54c7ac2f2976" providerId="ADAL" clId="{56F3CFAE-7241-4752-903A-D6C230C8EA12}" dt="2025-07-11T15:41:43.890" v="1031" actId="1076"/>
          <ac:picMkLst>
            <pc:docMk/>
            <pc:sldMk cId="3088225330" sldId="407"/>
            <ac:picMk id="19" creationId="{60F3A502-225E-58F3-F273-96C31CB25395}"/>
          </ac:picMkLst>
        </pc:picChg>
        <pc:picChg chg="mod">
          <ac:chgData name="Ganasen, S. (Samantha)" userId="1aefe51b-8b5e-4f27-ab1e-54c7ac2f2976" providerId="ADAL" clId="{56F3CFAE-7241-4752-903A-D6C230C8EA12}" dt="2025-07-11T15:41:49.687" v="1032" actId="1076"/>
          <ac:picMkLst>
            <pc:docMk/>
            <pc:sldMk cId="3088225330" sldId="407"/>
            <ac:picMk id="20" creationId="{5BF43FB2-4503-1168-ED95-5C305BFDE05A}"/>
          </ac:picMkLst>
        </pc:picChg>
        <pc:picChg chg="mod">
          <ac:chgData name="Ganasen, S. (Samantha)" userId="1aefe51b-8b5e-4f27-ab1e-54c7ac2f2976" providerId="ADAL" clId="{56F3CFAE-7241-4752-903A-D6C230C8EA12}" dt="2025-07-11T15:41:53.196" v="1033" actId="1076"/>
          <ac:picMkLst>
            <pc:docMk/>
            <pc:sldMk cId="3088225330" sldId="407"/>
            <ac:picMk id="21" creationId="{E3798676-6BFA-54AF-A69D-DDFA0D499BC5}"/>
          </ac:picMkLst>
        </pc:picChg>
      </pc:sldChg>
      <pc:sldChg chg="addSp delSp modSp mod">
        <pc:chgData name="Ganasen, S. (Samantha)" userId="1aefe51b-8b5e-4f27-ab1e-54c7ac2f2976" providerId="ADAL" clId="{56F3CFAE-7241-4752-903A-D6C230C8EA12}" dt="2025-07-11T16:06:10.271" v="2178"/>
        <pc:sldMkLst>
          <pc:docMk/>
          <pc:sldMk cId="888484295" sldId="408"/>
        </pc:sldMkLst>
        <pc:spChg chg="add del mod modVis">
          <ac:chgData name="Ganasen, S. (Samantha)" userId="1aefe51b-8b5e-4f27-ab1e-54c7ac2f2976" providerId="ADAL" clId="{56F3CFAE-7241-4752-903A-D6C230C8EA12}" dt="2025-07-11T16:02:14.350" v="1683"/>
          <ac:spMkLst>
            <pc:docMk/>
            <pc:sldMk cId="888484295" sldId="408"/>
            <ac:spMk id="2" creationId="{D59A9B0F-B5DA-0F0C-A16C-ACA504066470}"/>
          </ac:spMkLst>
        </pc:spChg>
        <pc:spChg chg="add del mod modVis">
          <ac:chgData name="Ganasen, S. (Samantha)" userId="1aefe51b-8b5e-4f27-ab1e-54c7ac2f2976" providerId="ADAL" clId="{56F3CFAE-7241-4752-903A-D6C230C8EA12}" dt="2025-07-11T16:03:33.705" v="2000"/>
          <ac:spMkLst>
            <pc:docMk/>
            <pc:sldMk cId="888484295" sldId="408"/>
            <ac:spMk id="3" creationId="{3D00C451-FD83-EB57-018C-B57C2F331E5B}"/>
          </ac:spMkLst>
        </pc:spChg>
        <pc:spChg chg="add del mod modVis">
          <ac:chgData name="Ganasen, S. (Samantha)" userId="1aefe51b-8b5e-4f27-ab1e-54c7ac2f2976" providerId="ADAL" clId="{56F3CFAE-7241-4752-903A-D6C230C8EA12}" dt="2025-07-11T16:06:10.270" v="2176"/>
          <ac:spMkLst>
            <pc:docMk/>
            <pc:sldMk cId="888484295" sldId="408"/>
            <ac:spMk id="4" creationId="{814870BE-E5E6-E4F8-12EA-7FC4095627A3}"/>
          </ac:spMkLst>
        </pc:spChg>
        <pc:spChg chg="mod">
          <ac:chgData name="Ganasen, S. (Samantha)" userId="1aefe51b-8b5e-4f27-ab1e-54c7ac2f2976" providerId="ADAL" clId="{56F3CFAE-7241-4752-903A-D6C230C8EA12}" dt="2025-07-11T16:06:10.236" v="2153" actId="948"/>
          <ac:spMkLst>
            <pc:docMk/>
            <pc:sldMk cId="888484295" sldId="408"/>
            <ac:spMk id="12" creationId="{F5477141-E46B-575D-3851-5021C286DAD4}"/>
          </ac:spMkLst>
        </pc:spChg>
        <pc:spChg chg="mod">
          <ac:chgData name="Ganasen, S. (Samantha)" userId="1aefe51b-8b5e-4f27-ab1e-54c7ac2f2976" providerId="ADAL" clId="{56F3CFAE-7241-4752-903A-D6C230C8EA12}" dt="2025-07-11T15:43:47.410" v="1045" actId="27636"/>
          <ac:spMkLst>
            <pc:docMk/>
            <pc:sldMk cId="888484295" sldId="408"/>
            <ac:spMk id="13" creationId="{7B59601F-98C6-24C8-AA96-91ABAFA4911A}"/>
          </ac:spMkLst>
        </pc:spChg>
        <pc:spChg chg="add del mod modVis">
          <ac:chgData name="Ganasen, S. (Samantha)" userId="1aefe51b-8b5e-4f27-ab1e-54c7ac2f2976" providerId="ADAL" clId="{56F3CFAE-7241-4752-903A-D6C230C8EA12}" dt="2025-07-11T14:58:28.735" v="261"/>
          <ac:spMkLst>
            <pc:docMk/>
            <pc:sldMk cId="888484295" sldId="408"/>
            <ac:spMk id="16" creationId="{368ABEF7-04CE-5CD7-911D-81DEB81B43B2}"/>
          </ac:spMkLst>
        </pc:spChg>
        <pc:spChg chg="add del mod modVis">
          <ac:chgData name="Ganasen, S. (Samantha)" userId="1aefe51b-8b5e-4f27-ab1e-54c7ac2f2976" providerId="ADAL" clId="{56F3CFAE-7241-4752-903A-D6C230C8EA12}" dt="2025-07-11T15:44:09.127" v="1073"/>
          <ac:spMkLst>
            <pc:docMk/>
            <pc:sldMk cId="888484295" sldId="408"/>
            <ac:spMk id="18" creationId="{6C93E6B0-7B84-E85B-6F03-C39CA4FA7BC1}"/>
          </ac:spMkLst>
        </pc:spChg>
        <pc:graphicFrameChg chg="mod">
          <ac:chgData name="Ganasen, S. (Samantha)" userId="1aefe51b-8b5e-4f27-ab1e-54c7ac2f2976" providerId="ADAL" clId="{56F3CFAE-7241-4752-903A-D6C230C8EA12}" dt="2025-07-11T16:06:10.271" v="2178"/>
          <ac:graphicFrameMkLst>
            <pc:docMk/>
            <pc:sldMk cId="888484295" sldId="408"/>
            <ac:graphicFrameMk id="7" creationId="{E3F6A769-BD40-1A63-9269-857E8549C325}"/>
          </ac:graphicFrameMkLst>
        </pc:graphicFrameChg>
      </pc:sldChg>
      <pc:sldChg chg="addSp delSp modSp mod">
        <pc:chgData name="Ganasen, S. (Samantha)" userId="1aefe51b-8b5e-4f27-ab1e-54c7ac2f2976" providerId="ADAL" clId="{56F3CFAE-7241-4752-903A-D6C230C8EA12}" dt="2025-07-11T16:12:51.256" v="2580" actId="1076"/>
        <pc:sldMkLst>
          <pc:docMk/>
          <pc:sldMk cId="3390304222" sldId="410"/>
        </pc:sldMkLst>
        <pc:spChg chg="add del mod modVis">
          <ac:chgData name="Ganasen, S. (Samantha)" userId="1aefe51b-8b5e-4f27-ab1e-54c7ac2f2976" providerId="ADAL" clId="{56F3CFAE-7241-4752-903A-D6C230C8EA12}" dt="2025-07-11T16:02:14.311" v="1663"/>
          <ac:spMkLst>
            <pc:docMk/>
            <pc:sldMk cId="3390304222" sldId="410"/>
            <ac:spMk id="2" creationId="{42432E5E-AFC8-40D6-8C20-7C18F7240C95}"/>
          </ac:spMkLst>
        </pc:spChg>
        <pc:spChg chg="add del mod modVis">
          <ac:chgData name="Ganasen, S. (Samantha)" userId="1aefe51b-8b5e-4f27-ab1e-54c7ac2f2976" providerId="ADAL" clId="{56F3CFAE-7241-4752-903A-D6C230C8EA12}" dt="2025-07-11T16:02:58.537" v="1722"/>
          <ac:spMkLst>
            <pc:docMk/>
            <pc:sldMk cId="3390304222" sldId="410"/>
            <ac:spMk id="3" creationId="{915E7FAD-71EB-F40A-BD51-065AA8E32C4B}"/>
          </ac:spMkLst>
        </pc:spChg>
        <pc:spChg chg="add del mod modVis">
          <ac:chgData name="Ganasen, S. (Samantha)" userId="1aefe51b-8b5e-4f27-ab1e-54c7ac2f2976" providerId="ADAL" clId="{56F3CFAE-7241-4752-903A-D6C230C8EA12}" dt="2025-07-11T16:03:33.687" v="1980"/>
          <ac:spMkLst>
            <pc:docMk/>
            <pc:sldMk cId="3390304222" sldId="410"/>
            <ac:spMk id="4" creationId="{5FD10A84-C520-2942-C88A-7A47191284FE}"/>
          </ac:spMkLst>
        </pc:spChg>
        <pc:spChg chg="mod">
          <ac:chgData name="Ganasen, S. (Samantha)" userId="1aefe51b-8b5e-4f27-ab1e-54c7ac2f2976" providerId="ADAL" clId="{56F3CFAE-7241-4752-903A-D6C230C8EA12}" dt="2025-07-11T16:03:33.475" v="1773" actId="948"/>
          <ac:spMkLst>
            <pc:docMk/>
            <pc:sldMk cId="3390304222" sldId="410"/>
            <ac:spMk id="7" creationId="{603ECB6A-93B7-679E-B196-8ACC2CEF44B4}"/>
          </ac:spMkLst>
        </pc:spChg>
        <pc:spChg chg="mod">
          <ac:chgData name="Ganasen, S. (Samantha)" userId="1aefe51b-8b5e-4f27-ab1e-54c7ac2f2976" providerId="ADAL" clId="{56F3CFAE-7241-4752-903A-D6C230C8EA12}" dt="2025-07-11T16:03:02.966" v="1725" actId="207"/>
          <ac:spMkLst>
            <pc:docMk/>
            <pc:sldMk cId="3390304222" sldId="410"/>
            <ac:spMk id="8" creationId="{8FEDC2E4-D854-3BF9-41DB-84D858B8047E}"/>
          </ac:spMkLst>
        </pc:spChg>
        <pc:spChg chg="mod">
          <ac:chgData name="Ganasen, S. (Samantha)" userId="1aefe51b-8b5e-4f27-ab1e-54c7ac2f2976" providerId="ADAL" clId="{56F3CFAE-7241-4752-903A-D6C230C8EA12}" dt="2025-07-11T16:03:46.514" v="2015" actId="207"/>
          <ac:spMkLst>
            <pc:docMk/>
            <pc:sldMk cId="3390304222" sldId="410"/>
            <ac:spMk id="10" creationId="{2B1518A8-9D59-6956-7E95-C7EAB23E304E}"/>
          </ac:spMkLst>
        </pc:spChg>
        <pc:spChg chg="add del mod modVis">
          <ac:chgData name="Ganasen, S. (Samantha)" userId="1aefe51b-8b5e-4f27-ab1e-54c7ac2f2976" providerId="ADAL" clId="{56F3CFAE-7241-4752-903A-D6C230C8EA12}" dt="2025-07-11T14:53:46.707" v="29"/>
          <ac:spMkLst>
            <pc:docMk/>
            <pc:sldMk cId="3390304222" sldId="410"/>
            <ac:spMk id="16" creationId="{C214B965-81E5-74C6-3994-B186FB96EE15}"/>
          </ac:spMkLst>
        </pc:spChg>
        <pc:spChg chg="add del mod modVis">
          <ac:chgData name="Ganasen, S. (Samantha)" userId="1aefe51b-8b5e-4f27-ab1e-54c7ac2f2976" providerId="ADAL" clId="{56F3CFAE-7241-4752-903A-D6C230C8EA12}" dt="2025-07-11T14:53:48.785" v="56"/>
          <ac:spMkLst>
            <pc:docMk/>
            <pc:sldMk cId="3390304222" sldId="410"/>
            <ac:spMk id="17" creationId="{21119ABB-99F5-380D-3551-20B4956D2A96}"/>
          </ac:spMkLst>
        </pc:spChg>
        <pc:spChg chg="add del mod modVis">
          <ac:chgData name="Ganasen, S. (Samantha)" userId="1aefe51b-8b5e-4f27-ab1e-54c7ac2f2976" providerId="ADAL" clId="{56F3CFAE-7241-4752-903A-D6C230C8EA12}" dt="2025-07-11T14:53:51.403" v="83"/>
          <ac:spMkLst>
            <pc:docMk/>
            <pc:sldMk cId="3390304222" sldId="410"/>
            <ac:spMk id="18" creationId="{AE11998D-6DCC-DE6D-306C-D115F530322B}"/>
          </ac:spMkLst>
        </pc:spChg>
        <pc:spChg chg="add del mod modVis">
          <ac:chgData name="Ganasen, S. (Samantha)" userId="1aefe51b-8b5e-4f27-ab1e-54c7ac2f2976" providerId="ADAL" clId="{56F3CFAE-7241-4752-903A-D6C230C8EA12}" dt="2025-07-11T14:53:53.394" v="110"/>
          <ac:spMkLst>
            <pc:docMk/>
            <pc:sldMk cId="3390304222" sldId="410"/>
            <ac:spMk id="19" creationId="{80D7687C-3496-729B-BF82-18B3ECA3983C}"/>
          </ac:spMkLst>
        </pc:spChg>
        <pc:spChg chg="add del mod modVis">
          <ac:chgData name="Ganasen, S. (Samantha)" userId="1aefe51b-8b5e-4f27-ab1e-54c7ac2f2976" providerId="ADAL" clId="{56F3CFAE-7241-4752-903A-D6C230C8EA12}" dt="2025-07-11T14:54:57.608" v="142"/>
          <ac:spMkLst>
            <pc:docMk/>
            <pc:sldMk cId="3390304222" sldId="410"/>
            <ac:spMk id="20" creationId="{03668440-D087-8417-5DA3-BC4C65331605}"/>
          </ac:spMkLst>
        </pc:spChg>
        <pc:spChg chg="add del mod modVis">
          <ac:chgData name="Ganasen, S. (Samantha)" userId="1aefe51b-8b5e-4f27-ab1e-54c7ac2f2976" providerId="ADAL" clId="{56F3CFAE-7241-4752-903A-D6C230C8EA12}" dt="2025-07-11T14:58:02.664" v="180"/>
          <ac:spMkLst>
            <pc:docMk/>
            <pc:sldMk cId="3390304222" sldId="410"/>
            <ac:spMk id="21" creationId="{C395F950-B0EB-8DC6-1B12-8EEC0E610406}"/>
          </ac:spMkLst>
        </pc:spChg>
        <pc:spChg chg="add del mod modVis">
          <ac:chgData name="Ganasen, S. (Samantha)" userId="1aefe51b-8b5e-4f27-ab1e-54c7ac2f2976" providerId="ADAL" clId="{56F3CFAE-7241-4752-903A-D6C230C8EA12}" dt="2025-07-11T15:00:50.332" v="638"/>
          <ac:spMkLst>
            <pc:docMk/>
            <pc:sldMk cId="3390304222" sldId="410"/>
            <ac:spMk id="22" creationId="{C00EE670-501E-8648-1A2A-B06B9BD3EC3E}"/>
          </ac:spMkLst>
        </pc:spChg>
        <pc:spChg chg="add del mod">
          <ac:chgData name="Ganasen, S. (Samantha)" userId="1aefe51b-8b5e-4f27-ab1e-54c7ac2f2976" providerId="ADAL" clId="{56F3CFAE-7241-4752-903A-D6C230C8EA12}" dt="2025-07-11T15:39:43.225" v="1018" actId="478"/>
          <ac:spMkLst>
            <pc:docMk/>
            <pc:sldMk cId="3390304222" sldId="410"/>
            <ac:spMk id="23" creationId="{35931092-4867-BAF6-ED36-890EC328B992}"/>
          </ac:spMkLst>
        </pc:spChg>
        <pc:spChg chg="add del mod modVis">
          <ac:chgData name="Ganasen, S. (Samantha)" userId="1aefe51b-8b5e-4f27-ab1e-54c7ac2f2976" providerId="ADAL" clId="{56F3CFAE-7241-4752-903A-D6C230C8EA12}" dt="2025-07-11T15:39:03.069" v="957"/>
          <ac:spMkLst>
            <pc:docMk/>
            <pc:sldMk cId="3390304222" sldId="410"/>
            <ac:spMk id="26" creationId="{774468E6-A0DE-189E-1FFE-F7D84D84EF15}"/>
          </ac:spMkLst>
        </pc:spChg>
        <pc:spChg chg="add del mod modVis">
          <ac:chgData name="Ganasen, S. (Samantha)" userId="1aefe51b-8b5e-4f27-ab1e-54c7ac2f2976" providerId="ADAL" clId="{56F3CFAE-7241-4752-903A-D6C230C8EA12}" dt="2025-07-11T15:39:05.186" v="984"/>
          <ac:spMkLst>
            <pc:docMk/>
            <pc:sldMk cId="3390304222" sldId="410"/>
            <ac:spMk id="27" creationId="{0B8359B7-315C-8D12-0119-BA15321CA763}"/>
          </ac:spMkLst>
        </pc:spChg>
        <pc:spChg chg="add del mod modVis">
          <ac:chgData name="Ganasen, S. (Samantha)" userId="1aefe51b-8b5e-4f27-ab1e-54c7ac2f2976" providerId="ADAL" clId="{56F3CFAE-7241-4752-903A-D6C230C8EA12}" dt="2025-07-11T15:39:06.971" v="1011"/>
          <ac:spMkLst>
            <pc:docMk/>
            <pc:sldMk cId="3390304222" sldId="410"/>
            <ac:spMk id="28" creationId="{A6ED2C9D-210A-7BDB-84B5-2F19B95538D8}"/>
          </ac:spMkLst>
        </pc:spChg>
        <pc:graphicFrameChg chg="mod">
          <ac:chgData name="Ganasen, S. (Samantha)" userId="1aefe51b-8b5e-4f27-ab1e-54c7ac2f2976" providerId="ADAL" clId="{56F3CFAE-7241-4752-903A-D6C230C8EA12}" dt="2025-07-11T16:03:33.688" v="1982"/>
          <ac:graphicFrameMkLst>
            <pc:docMk/>
            <pc:sldMk cId="3390304222" sldId="410"/>
            <ac:graphicFrameMk id="6" creationId="{68CA0E0A-EB7B-A881-E3D6-FD63EE9DC362}"/>
          </ac:graphicFrameMkLst>
        </pc:graphicFrameChg>
        <pc:picChg chg="add mod">
          <ac:chgData name="Ganasen, S. (Samantha)" userId="1aefe51b-8b5e-4f27-ab1e-54c7ac2f2976" providerId="ADAL" clId="{56F3CFAE-7241-4752-903A-D6C230C8EA12}" dt="2025-07-11T16:12:51.256" v="2580" actId="1076"/>
          <ac:picMkLst>
            <pc:docMk/>
            <pc:sldMk cId="3390304222" sldId="410"/>
            <ac:picMk id="25" creationId="{7002359E-3A12-B154-19A0-8DEE5F77F5AC}"/>
          </ac:picMkLst>
        </pc:picChg>
      </pc:sldChg>
      <pc:sldChg chg="addSp delSp modSp mod">
        <pc:chgData name="Ganasen, S. (Samantha)" userId="1aefe51b-8b5e-4f27-ab1e-54c7ac2f2976" providerId="ADAL" clId="{56F3CFAE-7241-4752-903A-D6C230C8EA12}" dt="2025-07-11T16:06:14.824" v="2205"/>
        <pc:sldMkLst>
          <pc:docMk/>
          <pc:sldMk cId="3617021918" sldId="411"/>
        </pc:sldMkLst>
        <pc:spChg chg="mod">
          <ac:chgData name="Ganasen, S. (Samantha)" userId="1aefe51b-8b5e-4f27-ab1e-54c7ac2f2976" providerId="ADAL" clId="{56F3CFAE-7241-4752-903A-D6C230C8EA12}" dt="2025-07-11T15:57:42.759" v="1410" actId="14100"/>
          <ac:spMkLst>
            <pc:docMk/>
            <pc:sldMk cId="3617021918" sldId="411"/>
            <ac:spMk id="2" creationId="{5BD8B11C-9841-71C0-3C7C-BB07498B129F}"/>
          </ac:spMkLst>
        </pc:spChg>
        <pc:spChg chg="add del mod modVis">
          <ac:chgData name="Ganasen, S. (Samantha)" userId="1aefe51b-8b5e-4f27-ab1e-54c7ac2f2976" providerId="ADAL" clId="{56F3CFAE-7241-4752-903A-D6C230C8EA12}" dt="2025-07-11T16:02:14.306" v="1659"/>
          <ac:spMkLst>
            <pc:docMk/>
            <pc:sldMk cId="3617021918" sldId="411"/>
            <ac:spMk id="3" creationId="{75D1C0C4-F647-3CE9-FEE3-C3DC28516266}"/>
          </ac:spMkLst>
        </pc:spChg>
        <pc:spChg chg="add del mod modVis">
          <ac:chgData name="Ganasen, S. (Samantha)" userId="1aefe51b-8b5e-4f27-ab1e-54c7ac2f2976" providerId="ADAL" clId="{56F3CFAE-7241-4752-903A-D6C230C8EA12}" dt="2025-07-11T14:58:38.629" v="288"/>
          <ac:spMkLst>
            <pc:docMk/>
            <pc:sldMk cId="3617021918" sldId="411"/>
            <ac:spMk id="3" creationId="{A5E8EF0E-954F-546A-504C-C615DA4FBBA7}"/>
          </ac:spMkLst>
        </pc:spChg>
        <pc:spChg chg="add del mod modVis">
          <ac:chgData name="Ganasen, S. (Samantha)" userId="1aefe51b-8b5e-4f27-ab1e-54c7ac2f2976" providerId="ADAL" clId="{56F3CFAE-7241-4752-903A-D6C230C8EA12}" dt="2025-07-11T15:44:14.512" v="1102"/>
          <ac:spMkLst>
            <pc:docMk/>
            <pc:sldMk cId="3617021918" sldId="411"/>
            <ac:spMk id="5" creationId="{B89FE79C-F09A-DD7C-AA7B-520F2177B44A}"/>
          </ac:spMkLst>
        </pc:spChg>
        <pc:spChg chg="add del mod modVis">
          <ac:chgData name="Ganasen, S. (Samantha)" userId="1aefe51b-8b5e-4f27-ab1e-54c7ac2f2976" providerId="ADAL" clId="{56F3CFAE-7241-4752-903A-D6C230C8EA12}" dt="2025-07-11T16:03:33.685" v="1976"/>
          <ac:spMkLst>
            <pc:docMk/>
            <pc:sldMk cId="3617021918" sldId="411"/>
            <ac:spMk id="5" creationId="{FF0C6A13-759F-E897-BC08-90A86F7B55CE}"/>
          </ac:spMkLst>
        </pc:spChg>
        <pc:spChg chg="add del mod modVis">
          <ac:chgData name="Ganasen, S. (Samantha)" userId="1aefe51b-8b5e-4f27-ab1e-54c7ac2f2976" providerId="ADAL" clId="{56F3CFAE-7241-4752-903A-D6C230C8EA12}" dt="2025-07-11T16:06:14.823" v="2203"/>
          <ac:spMkLst>
            <pc:docMk/>
            <pc:sldMk cId="3617021918" sldId="411"/>
            <ac:spMk id="6" creationId="{3BBE38E9-DE47-87A1-D892-1D12526298A3}"/>
          </ac:spMkLst>
        </pc:spChg>
        <pc:spChg chg="mod">
          <ac:chgData name="Ganasen, S. (Samantha)" userId="1aefe51b-8b5e-4f27-ab1e-54c7ac2f2976" providerId="ADAL" clId="{56F3CFAE-7241-4752-903A-D6C230C8EA12}" dt="2025-07-11T16:06:14.794" v="2180" actId="948"/>
          <ac:spMkLst>
            <pc:docMk/>
            <pc:sldMk cId="3617021918" sldId="411"/>
            <ac:spMk id="12" creationId="{F5477141-E46B-575D-3851-5021C286DAD4}"/>
          </ac:spMkLst>
        </pc:spChg>
        <pc:spChg chg="add mod">
          <ac:chgData name="Ganasen, S. (Samantha)" userId="1aefe51b-8b5e-4f27-ab1e-54c7ac2f2976" providerId="ADAL" clId="{56F3CFAE-7241-4752-903A-D6C230C8EA12}" dt="2025-07-11T15:53:52.542" v="1378" actId="21"/>
          <ac:spMkLst>
            <pc:docMk/>
            <pc:sldMk cId="3617021918" sldId="411"/>
            <ac:spMk id="16" creationId="{1B1F0B3A-8B92-FD59-92A3-0A06C2CB9B8C}"/>
          </ac:spMkLst>
        </pc:spChg>
        <pc:graphicFrameChg chg="mod">
          <ac:chgData name="Ganasen, S. (Samantha)" userId="1aefe51b-8b5e-4f27-ab1e-54c7ac2f2976" providerId="ADAL" clId="{56F3CFAE-7241-4752-903A-D6C230C8EA12}" dt="2025-07-11T16:06:14.824" v="2205"/>
          <ac:graphicFrameMkLst>
            <pc:docMk/>
            <pc:sldMk cId="3617021918" sldId="411"/>
            <ac:graphicFrameMk id="7" creationId="{E3F6A769-BD40-1A63-9269-857E8549C325}"/>
          </ac:graphicFrameMkLst>
        </pc:graphicFrameChg>
      </pc:sldChg>
      <pc:sldChg chg="addSp delSp modSp mod">
        <pc:chgData name="Ganasen, S. (Samantha)" userId="1aefe51b-8b5e-4f27-ab1e-54c7ac2f2976" providerId="ADAL" clId="{56F3CFAE-7241-4752-903A-D6C230C8EA12}" dt="2025-07-11T16:11:57.697" v="2384"/>
        <pc:sldMkLst>
          <pc:docMk/>
          <pc:sldMk cId="3348564581" sldId="412"/>
        </pc:sldMkLst>
        <pc:spChg chg="add del mod modVis">
          <ac:chgData name="Ganasen, S. (Samantha)" userId="1aefe51b-8b5e-4f27-ab1e-54c7ac2f2976" providerId="ADAL" clId="{56F3CFAE-7241-4752-903A-D6C230C8EA12}" dt="2025-07-11T14:58:54.668" v="342"/>
          <ac:spMkLst>
            <pc:docMk/>
            <pc:sldMk cId="3348564581" sldId="412"/>
            <ac:spMk id="2" creationId="{EE18D4C0-BFB2-582B-EEBA-9D6A47BA8272}"/>
          </ac:spMkLst>
        </pc:spChg>
        <pc:spChg chg="add del mod modVis">
          <ac:chgData name="Ganasen, S. (Samantha)" userId="1aefe51b-8b5e-4f27-ab1e-54c7ac2f2976" providerId="ADAL" clId="{56F3CFAE-7241-4752-903A-D6C230C8EA12}" dt="2025-07-11T16:02:14.336" v="1675"/>
          <ac:spMkLst>
            <pc:docMk/>
            <pc:sldMk cId="3348564581" sldId="412"/>
            <ac:spMk id="2" creationId="{FDEDC40E-5EF3-B327-BDD8-23BF87B7EC28}"/>
          </ac:spMkLst>
        </pc:spChg>
        <pc:spChg chg="add del mod modVis">
          <ac:chgData name="Ganasen, S. (Samantha)" userId="1aefe51b-8b5e-4f27-ab1e-54c7ac2f2976" providerId="ADAL" clId="{56F3CFAE-7241-4752-903A-D6C230C8EA12}" dt="2025-07-11T16:03:33.699" v="1992"/>
          <ac:spMkLst>
            <pc:docMk/>
            <pc:sldMk cId="3348564581" sldId="412"/>
            <ac:spMk id="4" creationId="{D66E855B-0BF6-3142-4F2B-E4D5224444C3}"/>
          </ac:spMkLst>
        </pc:spChg>
        <pc:spChg chg="add del mod modVis">
          <ac:chgData name="Ganasen, S. (Samantha)" userId="1aefe51b-8b5e-4f27-ab1e-54c7ac2f2976" providerId="ADAL" clId="{56F3CFAE-7241-4752-903A-D6C230C8EA12}" dt="2025-07-11T16:11:54.452" v="2355"/>
          <ac:spMkLst>
            <pc:docMk/>
            <pc:sldMk cId="3348564581" sldId="412"/>
            <ac:spMk id="6" creationId="{23707CB5-BE15-F495-C446-AE83B2335C93}"/>
          </ac:spMkLst>
        </pc:spChg>
        <pc:spChg chg="add del mod modVis">
          <ac:chgData name="Ganasen, S. (Samantha)" userId="1aefe51b-8b5e-4f27-ab1e-54c7ac2f2976" providerId="ADAL" clId="{56F3CFAE-7241-4752-903A-D6C230C8EA12}" dt="2025-07-11T15:44:18.922" v="1131"/>
          <ac:spMkLst>
            <pc:docMk/>
            <pc:sldMk cId="3348564581" sldId="412"/>
            <ac:spMk id="6" creationId="{8D3CB4BC-3CA0-7F99-0139-E57CF78CD458}"/>
          </ac:spMkLst>
        </pc:spChg>
        <pc:spChg chg="add del mod modVis">
          <ac:chgData name="Ganasen, S. (Samantha)" userId="1aefe51b-8b5e-4f27-ab1e-54c7ac2f2976" providerId="ADAL" clId="{56F3CFAE-7241-4752-903A-D6C230C8EA12}" dt="2025-07-11T16:11:57.695" v="2382"/>
          <ac:spMkLst>
            <pc:docMk/>
            <pc:sldMk cId="3348564581" sldId="412"/>
            <ac:spMk id="7" creationId="{3079AFF8-3DA5-931E-D997-A86386B76EDA}"/>
          </ac:spMkLst>
        </pc:spChg>
        <pc:spChg chg="mod">
          <ac:chgData name="Ganasen, S. (Samantha)" userId="1aefe51b-8b5e-4f27-ab1e-54c7ac2f2976" providerId="ADAL" clId="{56F3CFAE-7241-4752-903A-D6C230C8EA12}" dt="2025-07-11T16:11:57.671" v="2359" actId="948"/>
          <ac:spMkLst>
            <pc:docMk/>
            <pc:sldMk cId="3348564581" sldId="412"/>
            <ac:spMk id="12" creationId="{ED3827A6-B6D5-98B5-D090-E998029F210E}"/>
          </ac:spMkLst>
        </pc:spChg>
        <pc:spChg chg="mod">
          <ac:chgData name="Ganasen, S. (Samantha)" userId="1aefe51b-8b5e-4f27-ab1e-54c7ac2f2976" providerId="ADAL" clId="{56F3CFAE-7241-4752-903A-D6C230C8EA12}" dt="2025-07-11T15:52:39.075" v="1364" actId="14100"/>
          <ac:spMkLst>
            <pc:docMk/>
            <pc:sldMk cId="3348564581" sldId="412"/>
            <ac:spMk id="13" creationId="{E79A268B-DD57-E113-7841-329EF7935D76}"/>
          </ac:spMkLst>
        </pc:spChg>
        <pc:graphicFrameChg chg="mod">
          <ac:chgData name="Ganasen, S. (Samantha)" userId="1aefe51b-8b5e-4f27-ab1e-54c7ac2f2976" providerId="ADAL" clId="{56F3CFAE-7241-4752-903A-D6C230C8EA12}" dt="2025-07-11T16:11:57.697" v="2384"/>
          <ac:graphicFrameMkLst>
            <pc:docMk/>
            <pc:sldMk cId="3348564581" sldId="412"/>
            <ac:graphicFrameMk id="11" creationId="{FCCB015D-8B57-436C-3036-EA7D6C04A0CF}"/>
          </ac:graphicFrameMkLst>
        </pc:graphicFrameChg>
        <pc:picChg chg="add mod">
          <ac:chgData name="Ganasen, S. (Samantha)" userId="1aefe51b-8b5e-4f27-ab1e-54c7ac2f2976" providerId="ADAL" clId="{56F3CFAE-7241-4752-903A-D6C230C8EA12}" dt="2025-07-11T15:52:14.342" v="1361" actId="1076"/>
          <ac:picMkLst>
            <pc:docMk/>
            <pc:sldMk cId="3348564581" sldId="412"/>
            <ac:picMk id="5" creationId="{51DC9FBB-923B-5533-6F03-F75DECFF3F70}"/>
          </ac:picMkLst>
        </pc:picChg>
      </pc:sldChg>
      <pc:sldChg chg="addSp delSp modSp mod">
        <pc:chgData name="Ganasen, S. (Samantha)" userId="1aefe51b-8b5e-4f27-ab1e-54c7ac2f2976" providerId="ADAL" clId="{56F3CFAE-7241-4752-903A-D6C230C8EA12}" dt="2025-07-11T16:12:29.981" v="2552"/>
        <pc:sldMkLst>
          <pc:docMk/>
          <pc:sldMk cId="2668762890" sldId="413"/>
        </pc:sldMkLst>
        <pc:spChg chg="add del mod modVis">
          <ac:chgData name="Ganasen, S. (Samantha)" userId="1aefe51b-8b5e-4f27-ab1e-54c7ac2f2976" providerId="ADAL" clId="{56F3CFAE-7241-4752-903A-D6C230C8EA12}" dt="2025-07-11T16:02:14.302" v="1655"/>
          <ac:spMkLst>
            <pc:docMk/>
            <pc:sldMk cId="2668762890" sldId="413"/>
            <ac:spMk id="2" creationId="{D729DF11-DC7B-8A7A-030F-BAC44C8118B7}"/>
          </ac:spMkLst>
        </pc:spChg>
        <pc:spChg chg="add del mod modVis">
          <ac:chgData name="Ganasen, S. (Samantha)" userId="1aefe51b-8b5e-4f27-ab1e-54c7ac2f2976" providerId="ADAL" clId="{56F3CFAE-7241-4752-903A-D6C230C8EA12}" dt="2025-07-11T16:03:33.682" v="1972"/>
          <ac:spMkLst>
            <pc:docMk/>
            <pc:sldMk cId="2668762890" sldId="413"/>
            <ac:spMk id="3" creationId="{F881296C-EAC0-5F4B-9710-604E63BB47A6}"/>
          </ac:spMkLst>
        </pc:spChg>
        <pc:spChg chg="add del mod modVis">
          <ac:chgData name="Ganasen, S. (Samantha)" userId="1aefe51b-8b5e-4f27-ab1e-54c7ac2f2976" providerId="ADAL" clId="{56F3CFAE-7241-4752-903A-D6C230C8EA12}" dt="2025-07-11T16:12:29.980" v="2550"/>
          <ac:spMkLst>
            <pc:docMk/>
            <pc:sldMk cId="2668762890" sldId="413"/>
            <ac:spMk id="4" creationId="{3EBF90C9-F55A-68BD-CE35-E50535EE8243}"/>
          </ac:spMkLst>
        </pc:spChg>
        <pc:spChg chg="mod">
          <ac:chgData name="Ganasen, S. (Samantha)" userId="1aefe51b-8b5e-4f27-ab1e-54c7ac2f2976" providerId="ADAL" clId="{56F3CFAE-7241-4752-903A-D6C230C8EA12}" dt="2025-07-11T16:12:29.940" v="2527" actId="948"/>
          <ac:spMkLst>
            <pc:docMk/>
            <pc:sldMk cId="2668762890" sldId="413"/>
            <ac:spMk id="6" creationId="{8CACDC11-1D97-89BD-F2F0-7A122D62BBF1}"/>
          </ac:spMkLst>
        </pc:spChg>
        <pc:spChg chg="mod">
          <ac:chgData name="Ganasen, S. (Samantha)" userId="1aefe51b-8b5e-4f27-ab1e-54c7ac2f2976" providerId="ADAL" clId="{56F3CFAE-7241-4752-903A-D6C230C8EA12}" dt="2025-07-11T15:47:11.869" v="1273" actId="123"/>
          <ac:spMkLst>
            <pc:docMk/>
            <pc:sldMk cId="2668762890" sldId="413"/>
            <ac:spMk id="7" creationId="{206010DB-02A6-1AEE-5381-FFC3F5614369}"/>
          </ac:spMkLst>
        </pc:spChg>
        <pc:spChg chg="add del mod modVis">
          <ac:chgData name="Ganasen, S. (Samantha)" userId="1aefe51b-8b5e-4f27-ab1e-54c7ac2f2976" providerId="ADAL" clId="{56F3CFAE-7241-4752-903A-D6C230C8EA12}" dt="2025-07-11T15:44:39.217" v="1247"/>
          <ac:spMkLst>
            <pc:docMk/>
            <pc:sldMk cId="2668762890" sldId="413"/>
            <ac:spMk id="9" creationId="{D9FD4526-73CF-EFFA-95ED-A04E2D39164E}"/>
          </ac:spMkLst>
        </pc:spChg>
        <pc:graphicFrameChg chg="mod">
          <ac:chgData name="Ganasen, S. (Samantha)" userId="1aefe51b-8b5e-4f27-ab1e-54c7ac2f2976" providerId="ADAL" clId="{56F3CFAE-7241-4752-903A-D6C230C8EA12}" dt="2025-07-11T16:12:29.981" v="2552"/>
          <ac:graphicFrameMkLst>
            <pc:docMk/>
            <pc:sldMk cId="2668762890" sldId="413"/>
            <ac:graphicFrameMk id="11" creationId="{07658423-4F50-F63B-EFF1-F1E1CA9E05DC}"/>
          </ac:graphicFrameMkLst>
        </pc:graphicFrameChg>
      </pc:sldChg>
      <pc:sldChg chg="addSp delSp modSp add mod">
        <pc:chgData name="Ganasen, S. (Samantha)" userId="1aefe51b-8b5e-4f27-ab1e-54c7ac2f2976" providerId="ADAL" clId="{56F3CFAE-7241-4752-903A-D6C230C8EA12}" dt="2025-07-11T16:12:08.166" v="2465"/>
        <pc:sldMkLst>
          <pc:docMk/>
          <pc:sldMk cId="3041935509" sldId="414"/>
        </pc:sldMkLst>
        <pc:spChg chg="add del mod modVis">
          <ac:chgData name="Ganasen, S. (Samantha)" userId="1aefe51b-8b5e-4f27-ab1e-54c7ac2f2976" providerId="ADAL" clId="{56F3CFAE-7241-4752-903A-D6C230C8EA12}" dt="2025-07-11T16:02:14.327" v="1671"/>
          <ac:spMkLst>
            <pc:docMk/>
            <pc:sldMk cId="3041935509" sldId="414"/>
            <ac:spMk id="2" creationId="{BC4D1E84-9C3D-7930-90C0-1BABF8416DC1}"/>
          </ac:spMkLst>
        </pc:spChg>
        <pc:spChg chg="add del mod modVis">
          <ac:chgData name="Ganasen, S. (Samantha)" userId="1aefe51b-8b5e-4f27-ab1e-54c7ac2f2976" providerId="ADAL" clId="{56F3CFAE-7241-4752-903A-D6C230C8EA12}" dt="2025-07-11T14:59:11.974" v="396"/>
          <ac:spMkLst>
            <pc:docMk/>
            <pc:sldMk cId="3041935509" sldId="414"/>
            <ac:spMk id="4" creationId="{242D1B19-FA35-2B08-9FC0-C315CCBC8CEA}"/>
          </ac:spMkLst>
        </pc:spChg>
        <pc:spChg chg="add del mod modVis">
          <ac:chgData name="Ganasen, S. (Samantha)" userId="1aefe51b-8b5e-4f27-ab1e-54c7ac2f2976" providerId="ADAL" clId="{56F3CFAE-7241-4752-903A-D6C230C8EA12}" dt="2025-07-11T16:03:33.696" v="1988"/>
          <ac:spMkLst>
            <pc:docMk/>
            <pc:sldMk cId="3041935509" sldId="414"/>
            <ac:spMk id="4" creationId="{A94F7F7F-E18F-E27D-F1D0-763D809E4463}"/>
          </ac:spMkLst>
        </pc:spChg>
        <pc:spChg chg="add del mod modVis">
          <ac:chgData name="Ganasen, S. (Samantha)" userId="1aefe51b-8b5e-4f27-ab1e-54c7ac2f2976" providerId="ADAL" clId="{56F3CFAE-7241-4752-903A-D6C230C8EA12}" dt="2025-07-11T16:12:05.131" v="2436"/>
          <ac:spMkLst>
            <pc:docMk/>
            <pc:sldMk cId="3041935509" sldId="414"/>
            <ac:spMk id="5" creationId="{75B21F4B-4E78-FD6A-44E2-D4195B393DBD}"/>
          </ac:spMkLst>
        </pc:spChg>
        <pc:spChg chg="add del mod modVis">
          <ac:chgData name="Ganasen, S. (Samantha)" userId="1aefe51b-8b5e-4f27-ab1e-54c7ac2f2976" providerId="ADAL" clId="{56F3CFAE-7241-4752-903A-D6C230C8EA12}" dt="2025-07-11T14:59:16.848" v="422"/>
          <ac:spMkLst>
            <pc:docMk/>
            <pc:sldMk cId="3041935509" sldId="414"/>
            <ac:spMk id="5" creationId="{D125A148-8228-4CDB-B626-1898B29E3607}"/>
          </ac:spMkLst>
        </pc:spChg>
        <pc:spChg chg="add del mod modVis">
          <ac:chgData name="Ganasen, S. (Samantha)" userId="1aefe51b-8b5e-4f27-ab1e-54c7ac2f2976" providerId="ADAL" clId="{56F3CFAE-7241-4752-903A-D6C230C8EA12}" dt="2025-07-11T14:59:17.429" v="449"/>
          <ac:spMkLst>
            <pc:docMk/>
            <pc:sldMk cId="3041935509" sldId="414"/>
            <ac:spMk id="6" creationId="{B059ACD0-30DF-5990-DFC1-25CBAEA0E1CD}"/>
          </ac:spMkLst>
        </pc:spChg>
        <pc:spChg chg="add del mod modVis">
          <ac:chgData name="Ganasen, S. (Samantha)" userId="1aefe51b-8b5e-4f27-ab1e-54c7ac2f2976" providerId="ADAL" clId="{56F3CFAE-7241-4752-903A-D6C230C8EA12}" dt="2025-07-11T16:12:08.165" v="2463"/>
          <ac:spMkLst>
            <pc:docMk/>
            <pc:sldMk cId="3041935509" sldId="414"/>
            <ac:spMk id="6" creationId="{D3DD83CA-0AFD-AD55-68CA-8BDACF0E5ADE}"/>
          </ac:spMkLst>
        </pc:spChg>
        <pc:spChg chg="add del mod modVis">
          <ac:chgData name="Ganasen, S. (Samantha)" userId="1aefe51b-8b5e-4f27-ab1e-54c7ac2f2976" providerId="ADAL" clId="{56F3CFAE-7241-4752-903A-D6C230C8EA12}" dt="2025-07-11T14:59:24.127" v="476"/>
          <ac:spMkLst>
            <pc:docMk/>
            <pc:sldMk cId="3041935509" sldId="414"/>
            <ac:spMk id="7" creationId="{8CCF330D-99D0-1FBC-B662-60AD934A8CB6}"/>
          </ac:spMkLst>
        </pc:spChg>
        <pc:spChg chg="mod">
          <ac:chgData name="Ganasen, S. (Samantha)" userId="1aefe51b-8b5e-4f27-ab1e-54c7ac2f2976" providerId="ADAL" clId="{56F3CFAE-7241-4752-903A-D6C230C8EA12}" dt="2025-07-11T16:12:08.141" v="2440" actId="948"/>
          <ac:spMkLst>
            <pc:docMk/>
            <pc:sldMk cId="3041935509" sldId="414"/>
            <ac:spMk id="12" creationId="{6B081371-457A-59EE-8A9D-52CB49914428}"/>
          </ac:spMkLst>
        </pc:spChg>
        <pc:spChg chg="del">
          <ac:chgData name="Ganasen, S. (Samantha)" userId="1aefe51b-8b5e-4f27-ab1e-54c7ac2f2976" providerId="ADAL" clId="{56F3CFAE-7241-4752-903A-D6C230C8EA12}" dt="2025-07-11T14:52:13.449" v="1" actId="478"/>
          <ac:spMkLst>
            <pc:docMk/>
            <pc:sldMk cId="3041935509" sldId="414"/>
            <ac:spMk id="13" creationId="{0887485B-9B52-90B7-6786-B0B57C7FC540}"/>
          </ac:spMkLst>
        </pc:spChg>
        <pc:spChg chg="add del mod modVis">
          <ac:chgData name="Ganasen, S. (Samantha)" userId="1aefe51b-8b5e-4f27-ab1e-54c7ac2f2976" providerId="ADAL" clId="{56F3CFAE-7241-4752-903A-D6C230C8EA12}" dt="2025-07-11T15:44:28.891" v="1189"/>
          <ac:spMkLst>
            <pc:docMk/>
            <pc:sldMk cId="3041935509" sldId="414"/>
            <ac:spMk id="14" creationId="{2B275F02-7213-25ED-E9F2-4373556C1CA1}"/>
          </ac:spMkLst>
        </pc:spChg>
        <pc:graphicFrameChg chg="mod">
          <ac:chgData name="Ganasen, S. (Samantha)" userId="1aefe51b-8b5e-4f27-ab1e-54c7ac2f2976" providerId="ADAL" clId="{56F3CFAE-7241-4752-903A-D6C230C8EA12}" dt="2025-07-11T16:12:08.166" v="2465"/>
          <ac:graphicFrameMkLst>
            <pc:docMk/>
            <pc:sldMk cId="3041935509" sldId="414"/>
            <ac:graphicFrameMk id="11" creationId="{D9CC7B8B-7765-FFA9-C11A-6F16EA2E3475}"/>
          </ac:graphicFrameMkLst>
        </pc:graphicFrameChg>
        <pc:picChg chg="add mod">
          <ac:chgData name="Ganasen, S. (Samantha)" userId="1aefe51b-8b5e-4f27-ab1e-54c7ac2f2976" providerId="ADAL" clId="{56F3CFAE-7241-4752-903A-D6C230C8EA12}" dt="2025-07-11T15:28:13.609" v="885" actId="14100"/>
          <ac:picMkLst>
            <pc:docMk/>
            <pc:sldMk cId="3041935509" sldId="414"/>
            <ac:picMk id="3" creationId="{4D4FAE28-E6FE-C311-1A68-8B42EDE1F19B}"/>
          </ac:picMkLst>
        </pc:picChg>
        <pc:picChg chg="add mod">
          <ac:chgData name="Ganasen, S. (Samantha)" userId="1aefe51b-8b5e-4f27-ab1e-54c7ac2f2976" providerId="ADAL" clId="{56F3CFAE-7241-4752-903A-D6C230C8EA12}" dt="2025-07-11T15:47:31.699" v="1275" actId="14100"/>
          <ac:picMkLst>
            <pc:docMk/>
            <pc:sldMk cId="3041935509" sldId="414"/>
            <ac:picMk id="10" creationId="{5E09104D-01FC-611B-F410-993E6933A07A}"/>
          </ac:picMkLst>
        </pc:picChg>
      </pc:sldChg>
      <pc:sldChg chg="modSp add mod">
        <pc:chgData name="Ganasen, S. (Samantha)" userId="1aefe51b-8b5e-4f27-ab1e-54c7ac2f2976" providerId="ADAL" clId="{56F3CFAE-7241-4752-903A-D6C230C8EA12}" dt="2025-07-11T16:11:27.741" v="2330" actId="6549"/>
        <pc:sldMkLst>
          <pc:docMk/>
          <pc:sldMk cId="4172458240" sldId="415"/>
        </pc:sldMkLst>
        <pc:spChg chg="mod">
          <ac:chgData name="Ganasen, S. (Samantha)" userId="1aefe51b-8b5e-4f27-ab1e-54c7ac2f2976" providerId="ADAL" clId="{56F3CFAE-7241-4752-903A-D6C230C8EA12}" dt="2025-07-11T16:11:27.741" v="2330" actId="6549"/>
          <ac:spMkLst>
            <pc:docMk/>
            <pc:sldMk cId="4172458240" sldId="415"/>
            <ac:spMk id="13" creationId="{7B59601F-98C6-24C8-AA96-91ABAFA4911A}"/>
          </ac:spMkLst>
        </pc:spChg>
      </pc:sldChg>
      <pc:sldMasterChg chg="modSldLayout">
        <pc:chgData name="Ganasen, S. (Samantha)" userId="1aefe51b-8b5e-4f27-ab1e-54c7ac2f2976" providerId="ADAL" clId="{56F3CFAE-7241-4752-903A-D6C230C8EA12}" dt="2025-07-11T16:03:32.820" v="1728" actId="16037"/>
        <pc:sldMasterMkLst>
          <pc:docMk/>
          <pc:sldMasterMk cId="3515892240" sldId="2147483658"/>
        </pc:sldMasterMkLst>
        <pc:sldLayoutChg chg="modSp">
          <pc:chgData name="Ganasen, S. (Samantha)" userId="1aefe51b-8b5e-4f27-ab1e-54c7ac2f2976" providerId="ADAL" clId="{56F3CFAE-7241-4752-903A-D6C230C8EA12}" dt="2025-07-11T14:56:57.197" v="154" actId="255"/>
          <pc:sldLayoutMkLst>
            <pc:docMk/>
            <pc:sldMasterMk cId="3515892240" sldId="2147483658"/>
            <pc:sldLayoutMk cId="518089260" sldId="2147483698"/>
          </pc:sldLayoutMkLst>
          <pc:spChg chg="mod">
            <ac:chgData name="Ganasen, S. (Samantha)" userId="1aefe51b-8b5e-4f27-ab1e-54c7ac2f2976" providerId="ADAL" clId="{56F3CFAE-7241-4752-903A-D6C230C8EA12}" dt="2025-07-11T14:56:57.197" v="154" actId="255"/>
            <ac:spMkLst>
              <pc:docMk/>
              <pc:sldMasterMk cId="3515892240" sldId="2147483658"/>
              <pc:sldLayoutMk cId="518089260" sldId="2147483698"/>
              <ac:spMk id="2" creationId="{186153BD-9D2B-47EB-3553-1D3F6663B2A3}"/>
            </ac:spMkLst>
          </pc:spChg>
          <pc:spChg chg="mod">
            <ac:chgData name="Ganasen, S. (Samantha)" userId="1aefe51b-8b5e-4f27-ab1e-54c7ac2f2976" providerId="ADAL" clId="{56F3CFAE-7241-4752-903A-D6C230C8EA12}" dt="2025-07-11T14:56:50.725" v="152" actId="255"/>
            <ac:spMkLst>
              <pc:docMk/>
              <pc:sldMasterMk cId="3515892240" sldId="2147483658"/>
              <pc:sldLayoutMk cId="518089260" sldId="2147483698"/>
              <ac:spMk id="12" creationId="{39F93F26-ED5C-E74E-BFBD-E3054DC1B9C1}"/>
            </ac:spMkLst>
          </pc:spChg>
        </pc:sldLayoutChg>
        <pc:sldLayoutChg chg="modSp">
          <pc:chgData name="Ganasen, S. (Samantha)" userId="1aefe51b-8b5e-4f27-ab1e-54c7ac2f2976" providerId="ADAL" clId="{56F3CFAE-7241-4752-903A-D6C230C8EA12}" dt="2025-07-11T16:03:32.820" v="1728" actId="16037"/>
          <pc:sldLayoutMkLst>
            <pc:docMk/>
            <pc:sldMasterMk cId="3515892240" sldId="2147483658"/>
            <pc:sldLayoutMk cId="441327515" sldId="2147483711"/>
          </pc:sldLayoutMkLst>
          <pc:spChg chg="mod">
            <ac:chgData name="Ganasen, S. (Samantha)" userId="1aefe51b-8b5e-4f27-ab1e-54c7ac2f2976" providerId="ADAL" clId="{56F3CFAE-7241-4752-903A-D6C230C8EA12}" dt="2025-07-11T14:56:39.063" v="151" actId="404"/>
            <ac:spMkLst>
              <pc:docMk/>
              <pc:sldMasterMk cId="3515892240" sldId="2147483658"/>
              <pc:sldLayoutMk cId="441327515" sldId="2147483711"/>
              <ac:spMk id="2" creationId="{E3B6987D-0137-DE42-B76B-FF621E808D90}"/>
            </ac:spMkLst>
          </pc:spChg>
          <pc:grpChg chg="mod">
            <ac:chgData name="Ganasen, S. (Samantha)" userId="1aefe51b-8b5e-4f27-ab1e-54c7ac2f2976" providerId="ADAL" clId="{56F3CFAE-7241-4752-903A-D6C230C8EA12}" dt="2025-07-11T16:03:32.820" v="1728" actId="16037"/>
            <ac:grpSpMkLst>
              <pc:docMk/>
              <pc:sldMasterMk cId="3515892240" sldId="2147483658"/>
              <pc:sldLayoutMk cId="441327515" sldId="2147483711"/>
              <ac:grpSpMk id="9" creationId="{C26C18C3-ED25-DD4B-BA72-24932D54DE37}"/>
            </ac:grpSpMkLst>
          </pc:gr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F6756E-81DA-9FAC-70D8-556F658BDDA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BEDD12-BCD5-485B-BCBC-34BB01D7923C}" type="datetimeFigureOut">
              <a:rPr lang="en-US" smtClean="0"/>
              <a:t>7/11/2025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71D415-D05A-7067-CCD3-457153D96C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C230DF-5933-439D-898F-38E9AC9BA68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97095E3-54D2-CFD2-4F49-7536FC8641D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8" name="Header Placeholder 7">
            <a:extLst>
              <a:ext uri="{FF2B5EF4-FFF2-40B4-BE49-F238E27FC236}">
                <a16:creationId xmlns:a16="http://schemas.microsoft.com/office/drawing/2014/main" id="{521EE01A-C0B5-5ECF-96DD-768F86AA15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2284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E7A52F-9D89-7442-A8E9-48D1527B5F6B}" type="datetimeFigureOut">
              <a:rPr lang="en-US" smtClean="0"/>
              <a:t>7/1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9C7E07-3C67-C64C-8DA0-0404F630397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528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4538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2331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6854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923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41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2765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1837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1598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469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2898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5968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510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09904" y="41147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3200" b="1" i="0" spc="10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6C18C3-ED25-DD4B-BA72-24932D54D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" y="758752"/>
            <a:ext cx="6099248" cy="6099248"/>
            <a:chOff x="0" y="12289"/>
            <a:chExt cx="3550" cy="355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69706A2-3726-FE4E-B923-E75D48597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09360" y="3950208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3275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Tab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F555767-B3D8-BD57-1D42-7F6E1E6689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BC972B6D-098C-52F6-E990-52623B368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F0D3EE3-9A8C-531D-1EEE-1AFAB9F3B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A2BE192C-1768-890B-EC1B-5ED6E1F82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1409" y="4661717"/>
            <a:ext cx="7936230" cy="138076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007FA9C-C4D5-89EC-C457-5F329A338E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3885" y="584005"/>
            <a:ext cx="2825115" cy="3999060"/>
          </a:xfrm>
        </p:spPr>
        <p:txBody>
          <a:bodyPr lIns="0" tIns="27432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457200" indent="0">
              <a:spcBef>
                <a:spcPts val="1800"/>
              </a:spcBef>
              <a:buNone/>
              <a:defRPr sz="2000"/>
            </a:lvl2pPr>
            <a:lvl3pPr marL="914400" indent="0">
              <a:spcBef>
                <a:spcPts val="1800"/>
              </a:spcBef>
              <a:buNone/>
              <a:defRPr sz="2000"/>
            </a:lvl3pPr>
            <a:lvl4pPr marL="1371600" indent="0">
              <a:spcBef>
                <a:spcPts val="1800"/>
              </a:spcBef>
              <a:buNone/>
              <a:defRPr sz="2000"/>
            </a:lvl4pPr>
            <a:lvl5pPr marL="1828800" indent="0">
              <a:spcBef>
                <a:spcPts val="1800"/>
              </a:spcBef>
              <a:buNone/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CAAA28-C292-C527-AD35-90836B8BB97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70934" y="584005"/>
            <a:ext cx="7926705" cy="3999060"/>
          </a:xfrm>
        </p:spPr>
        <p:txBody>
          <a:bodyPr lIns="0">
            <a:normAutofit/>
          </a:bodyPr>
          <a:lstStyle>
            <a:lvl1pPr marL="0" indent="0">
              <a:spcBef>
                <a:spcPts val="1800"/>
              </a:spcBef>
              <a:buNone/>
              <a:defRPr sz="2000"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1800"/>
              </a:spcBef>
              <a:defRPr sz="2000"/>
            </a:lvl3pPr>
            <a:lvl4pPr>
              <a:spcBef>
                <a:spcPts val="1800"/>
              </a:spcBef>
              <a:defRPr sz="2000"/>
            </a:lvl4pPr>
            <a:lvl5pPr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4329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97D5AF2-684A-4A8D-3D82-B57D7AC44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8870040" y="0"/>
            <a:ext cx="3325208" cy="3325208"/>
            <a:chOff x="0" y="12289"/>
            <a:chExt cx="3550" cy="3551"/>
          </a:xfrm>
        </p:grpSpPr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8CF5F650-F8F0-F4FE-44DA-1F14ADE42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8870924-E47D-404F-59B5-BD1C58F7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80806A65-E4FC-2F52-65B3-CC181E620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198408"/>
            <a:ext cx="10972800" cy="157431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CAAA28-C292-C527-AD35-90836B8BB97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5523" y="2676525"/>
            <a:ext cx="5746750" cy="3597470"/>
          </a:xfrm>
        </p:spPr>
        <p:txBody>
          <a:bodyPr lIns="0">
            <a:normAutofit/>
          </a:bodyPr>
          <a:lstStyle>
            <a:lvl1pPr marL="0" indent="0">
              <a:spcBef>
                <a:spcPts val="1800"/>
              </a:spcBef>
              <a:buNone/>
              <a:defRPr sz="2000"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1800"/>
              </a:spcBef>
              <a:defRPr sz="2000"/>
            </a:lvl3pPr>
            <a:lvl4pPr>
              <a:spcBef>
                <a:spcPts val="1800"/>
              </a:spcBef>
              <a:defRPr sz="2000"/>
            </a:lvl4pPr>
            <a:lvl5pPr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007FA9C-C4D5-89EC-C457-5F329A338E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620000" y="2676525"/>
            <a:ext cx="3947160" cy="3597470"/>
          </a:xfrm>
        </p:spPr>
        <p:txBody>
          <a:bodyPr lIns="0">
            <a:normAutofit/>
          </a:bodyPr>
          <a:lstStyle>
            <a:lvl1pPr marL="342900" indent="-342900">
              <a:spcBef>
                <a:spcPts val="1800"/>
              </a:spcBef>
              <a:buFont typeface="Arial" panose="020B0604020202020204" pitchFamily="34" charset="0"/>
              <a:buChar char="•"/>
              <a:defRPr sz="2000"/>
            </a:lvl1pPr>
            <a:lvl2pPr>
              <a:spcBef>
                <a:spcPts val="1800"/>
              </a:spcBef>
              <a:defRPr sz="2000"/>
            </a:lvl2pPr>
            <a:lvl3pPr>
              <a:spcBef>
                <a:spcPts val="1800"/>
              </a:spcBef>
              <a:defRPr sz="2000"/>
            </a:lvl3pPr>
            <a:lvl4pPr>
              <a:spcBef>
                <a:spcPts val="1800"/>
              </a:spcBef>
              <a:defRPr sz="2000"/>
            </a:lvl4pPr>
            <a:lvl5pPr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9744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202400"/>
            <a:ext cx="10972800" cy="157032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9" name="Table Placeholder 2">
            <a:extLst>
              <a:ext uri="{FF2B5EF4-FFF2-40B4-BE49-F238E27FC236}">
                <a16:creationId xmlns:a16="http://schemas.microsoft.com/office/drawing/2014/main" id="{1506B022-475A-6647-98FF-D5C319A0C7C4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94360" y="2628629"/>
            <a:ext cx="10972800" cy="363674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410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4360" y="41147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6C18C3-ED25-DD4B-BA72-24932D54D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flipH="1" flipV="1">
            <a:off x="6092752" y="0"/>
            <a:ext cx="6099248" cy="6099248"/>
            <a:chOff x="0" y="12289"/>
            <a:chExt cx="3550" cy="355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4360" y="4549552"/>
            <a:ext cx="5486400" cy="164592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669273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806C6F65-35CD-D64B-992A-0C1C1E0038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362700" y="0"/>
            <a:ext cx="5829298" cy="3235602"/>
            <a:chOff x="5612972" y="1"/>
            <a:chExt cx="6615961" cy="3672246"/>
          </a:xfrm>
        </p:grpSpPr>
        <p:sp>
          <p:nvSpPr>
            <p:cNvPr id="7" name="AutoShape 24">
              <a:extLst>
                <a:ext uri="{FF2B5EF4-FFF2-40B4-BE49-F238E27FC236}">
                  <a16:creationId xmlns:a16="http://schemas.microsoft.com/office/drawing/2014/main" id="{CFD467E2-FF13-7E4F-BEF9-EA1A17665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972" y="1"/>
              <a:ext cx="4408998" cy="3672246"/>
            </a:xfrm>
            <a:custGeom>
              <a:avLst/>
              <a:gdLst>
                <a:gd name="T0" fmla="+- 0 8372 6586"/>
                <a:gd name="T1" fmla="*/ T0 w 3578"/>
                <a:gd name="T2" fmla="*/ 591 h 2980"/>
                <a:gd name="T3" fmla="+- 0 7780 6586"/>
                <a:gd name="T4" fmla="*/ T3 w 3578"/>
                <a:gd name="T5" fmla="*/ 0 h 2980"/>
                <a:gd name="T6" fmla="+- 0 6586 6586"/>
                <a:gd name="T7" fmla="*/ T6 w 3578"/>
                <a:gd name="T8" fmla="*/ 0 h 2980"/>
                <a:gd name="T9" fmla="+- 0 7774 6586"/>
                <a:gd name="T10" fmla="*/ T9 w 3578"/>
                <a:gd name="T11" fmla="*/ 1188 h 2980"/>
                <a:gd name="T12" fmla="+- 0 8372 6586"/>
                <a:gd name="T13" fmla="*/ T12 w 3578"/>
                <a:gd name="T14" fmla="*/ 591 h 2980"/>
                <a:gd name="T15" fmla="+- 0 10163 6586"/>
                <a:gd name="T16" fmla="*/ T15 w 3578"/>
                <a:gd name="T17" fmla="*/ 2383 h 2980"/>
                <a:gd name="T18" fmla="+- 0 9566 6586"/>
                <a:gd name="T19" fmla="*/ T18 w 3578"/>
                <a:gd name="T20" fmla="*/ 1786 h 2980"/>
                <a:gd name="T21" fmla="+- 0 8969 6586"/>
                <a:gd name="T22" fmla="*/ T21 w 3578"/>
                <a:gd name="T23" fmla="*/ 2383 h 2980"/>
                <a:gd name="T24" fmla="+- 0 9566 6586"/>
                <a:gd name="T25" fmla="*/ T24 w 3578"/>
                <a:gd name="T26" fmla="*/ 2980 h 2980"/>
                <a:gd name="T27" fmla="+- 0 10163 6586"/>
                <a:gd name="T28" fmla="*/ T27 w 3578"/>
                <a:gd name="T29" fmla="*/ 2383 h 298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  <a:cxn ang="0">
                  <a:pos x="T13" y="T14"/>
                </a:cxn>
                <a:cxn ang="0">
                  <a:pos x="T16" y="T17"/>
                </a:cxn>
                <a:cxn ang="0">
                  <a:pos x="T19" y="T20"/>
                </a:cxn>
                <a:cxn ang="0">
                  <a:pos x="T22" y="T23"/>
                </a:cxn>
                <a:cxn ang="0">
                  <a:pos x="T25" y="T26"/>
                </a:cxn>
                <a:cxn ang="0">
                  <a:pos x="T28" y="T29"/>
                </a:cxn>
              </a:cxnLst>
              <a:rect l="0" t="0" r="r" b="b"/>
              <a:pathLst>
                <a:path w="3578" h="2980">
                  <a:moveTo>
                    <a:pt x="1786" y="591"/>
                  </a:moveTo>
                  <a:lnTo>
                    <a:pt x="1194" y="0"/>
                  </a:lnTo>
                  <a:lnTo>
                    <a:pt x="0" y="0"/>
                  </a:lnTo>
                  <a:lnTo>
                    <a:pt x="1188" y="1188"/>
                  </a:lnTo>
                  <a:lnTo>
                    <a:pt x="1786" y="591"/>
                  </a:lnTo>
                  <a:moveTo>
                    <a:pt x="3577" y="2383"/>
                  </a:moveTo>
                  <a:lnTo>
                    <a:pt x="2980" y="1786"/>
                  </a:lnTo>
                  <a:lnTo>
                    <a:pt x="2383" y="2383"/>
                  </a:lnTo>
                  <a:lnTo>
                    <a:pt x="2980" y="2980"/>
                  </a:lnTo>
                  <a:lnTo>
                    <a:pt x="3577" y="2383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CA85A327-3157-B442-993A-6900F712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233" y="1463970"/>
              <a:ext cx="2208196" cy="2208277"/>
            </a:xfrm>
            <a:custGeom>
              <a:avLst/>
              <a:gdLst>
                <a:gd name="T0" fmla="+- 0 7774 7177"/>
                <a:gd name="T1" fmla="*/ T0 w 1792"/>
                <a:gd name="T2" fmla="+- 0 1188 1188"/>
                <a:gd name="T3" fmla="*/ 1188 h 1792"/>
                <a:gd name="T4" fmla="+- 0 7177 7177"/>
                <a:gd name="T5" fmla="*/ T4 w 1792"/>
                <a:gd name="T6" fmla="+- 0 1786 1188"/>
                <a:gd name="T7" fmla="*/ 1786 h 1792"/>
                <a:gd name="T8" fmla="+- 0 8372 7177"/>
                <a:gd name="T9" fmla="*/ T8 w 1792"/>
                <a:gd name="T10" fmla="+- 0 2980 1188"/>
                <a:gd name="T11" fmla="*/ 2980 h 1792"/>
                <a:gd name="T12" fmla="+- 0 8969 7177"/>
                <a:gd name="T13" fmla="*/ T12 w 1792"/>
                <a:gd name="T14" fmla="+- 0 2383 1188"/>
                <a:gd name="T15" fmla="*/ 2383 h 1792"/>
                <a:gd name="T16" fmla="+- 0 7774 7177"/>
                <a:gd name="T17" fmla="*/ T16 w 1792"/>
                <a:gd name="T18" fmla="+- 0 1188 1188"/>
                <a:gd name="T19" fmla="*/ 1188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7" y="0"/>
                  </a:moveTo>
                  <a:lnTo>
                    <a:pt x="0" y="598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A459CB4-74AF-0544-AB1E-7CC6D10F8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5590" y="1"/>
              <a:ext cx="1457754" cy="729520"/>
            </a:xfrm>
            <a:custGeom>
              <a:avLst/>
              <a:gdLst>
                <a:gd name="T0" fmla="+- 0 10158 8975"/>
                <a:gd name="T1" fmla="*/ T0 w 1183"/>
                <a:gd name="T2" fmla="*/ 0 h 592"/>
                <a:gd name="T3" fmla="+- 0 8975 8975"/>
                <a:gd name="T4" fmla="*/ T3 w 1183"/>
                <a:gd name="T5" fmla="*/ 0 h 592"/>
                <a:gd name="T6" fmla="+- 0 9566 8975"/>
                <a:gd name="T7" fmla="*/ T6 w 1183"/>
                <a:gd name="T8" fmla="*/ 591 h 592"/>
                <a:gd name="T9" fmla="+- 0 10158 8975"/>
                <a:gd name="T10" fmla="*/ T9 w 1183"/>
                <a:gd name="T11" fmla="*/ 0 h 592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183" h="592">
                  <a:moveTo>
                    <a:pt x="1183" y="0"/>
                  </a:moveTo>
                  <a:lnTo>
                    <a:pt x="0" y="0"/>
                  </a:lnTo>
                  <a:lnTo>
                    <a:pt x="591" y="591"/>
                  </a:lnTo>
                  <a:lnTo>
                    <a:pt x="11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5A20BFD-9142-D64A-A78A-61B75FCA0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887" y="728289"/>
              <a:ext cx="2208196" cy="2208277"/>
            </a:xfrm>
            <a:custGeom>
              <a:avLst/>
              <a:gdLst>
                <a:gd name="T0" fmla="+- 0 8372 7774"/>
                <a:gd name="T1" fmla="*/ T0 w 1792"/>
                <a:gd name="T2" fmla="+- 0 591 591"/>
                <a:gd name="T3" fmla="*/ 591 h 1792"/>
                <a:gd name="T4" fmla="+- 0 7774 7774"/>
                <a:gd name="T5" fmla="*/ T4 w 1792"/>
                <a:gd name="T6" fmla="+- 0 1188 591"/>
                <a:gd name="T7" fmla="*/ 1188 h 1792"/>
                <a:gd name="T8" fmla="+- 0 8969 7774"/>
                <a:gd name="T9" fmla="*/ T8 w 1792"/>
                <a:gd name="T10" fmla="+- 0 2383 591"/>
                <a:gd name="T11" fmla="*/ 2383 h 1792"/>
                <a:gd name="T12" fmla="+- 0 9566 7774"/>
                <a:gd name="T13" fmla="*/ T12 w 1792"/>
                <a:gd name="T14" fmla="+- 0 1786 591"/>
                <a:gd name="T15" fmla="*/ 1786 h 1792"/>
                <a:gd name="T16" fmla="+- 0 8372 7774"/>
                <a:gd name="T17" fmla="*/ T16 w 1792"/>
                <a:gd name="T18" fmla="+- 0 591 591"/>
                <a:gd name="T19" fmla="*/ 591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8" y="0"/>
                  </a:moveTo>
                  <a:lnTo>
                    <a:pt x="0" y="597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B80736DF-C890-DB47-AEAA-D3D92505E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5083" y="728289"/>
              <a:ext cx="2943850" cy="2943958"/>
            </a:xfrm>
            <a:custGeom>
              <a:avLst/>
              <a:gdLst>
                <a:gd name="T0" fmla="+- 0 11955 9566"/>
                <a:gd name="T1" fmla="*/ T0 w 2389"/>
                <a:gd name="T2" fmla="+- 0 1786 591"/>
                <a:gd name="T3" fmla="*/ 1786 h 2389"/>
                <a:gd name="T4" fmla="+- 0 10760 9566"/>
                <a:gd name="T5" fmla="*/ T4 w 2389"/>
                <a:gd name="T6" fmla="+- 0 591 591"/>
                <a:gd name="T7" fmla="*/ 591 h 2389"/>
                <a:gd name="T8" fmla="+- 0 9566 9566"/>
                <a:gd name="T9" fmla="*/ T8 w 2389"/>
                <a:gd name="T10" fmla="+- 0 1786 591"/>
                <a:gd name="T11" fmla="*/ 1786 h 2389"/>
                <a:gd name="T12" fmla="+- 0 10760 9566"/>
                <a:gd name="T13" fmla="*/ T12 w 2389"/>
                <a:gd name="T14" fmla="+- 0 2980 591"/>
                <a:gd name="T15" fmla="*/ 2980 h 2389"/>
                <a:gd name="T16" fmla="+- 0 11955 9566"/>
                <a:gd name="T17" fmla="*/ T16 w 2389"/>
                <a:gd name="T18" fmla="+- 0 1786 591"/>
                <a:gd name="T19" fmla="*/ 1786 h 238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2389" h="2389">
                  <a:moveTo>
                    <a:pt x="2389" y="1195"/>
                  </a:moveTo>
                  <a:lnTo>
                    <a:pt x="1194" y="0"/>
                  </a:lnTo>
                  <a:lnTo>
                    <a:pt x="0" y="1195"/>
                  </a:lnTo>
                  <a:lnTo>
                    <a:pt x="1194" y="2389"/>
                  </a:lnTo>
                  <a:lnTo>
                    <a:pt x="2389" y="1195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39F93F26-ED5C-E74E-BFBD-E3054DC1B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189572"/>
            <a:ext cx="6787747" cy="159350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3200" b="1" i="0" spc="50" baseline="0"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186153BD-9D2B-47EB-3553-1D3F6663B2A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4359" y="2281918"/>
            <a:ext cx="6787747" cy="3708517"/>
          </a:xfrm>
        </p:spPr>
        <p:txBody>
          <a:bodyPr lIns="0" tIns="228600" rIns="0" bIns="0">
            <a:normAutofit/>
          </a:bodyPr>
          <a:lstStyle>
            <a:lvl1pPr marL="283464" indent="-283464">
              <a:lnSpc>
                <a:spcPct val="80000"/>
              </a:lnSpc>
              <a:spcBef>
                <a:spcPts val="2200"/>
              </a:spcBef>
              <a:buFont typeface="Arial" panose="020B0604020202020204" pitchFamily="34" charset="0"/>
              <a:buChar char="•"/>
              <a:defRPr lang="en-US" sz="2000" b="1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indent="-283464">
              <a:spcBef>
                <a:spcPts val="600"/>
              </a:spcBef>
              <a:defRPr sz="2000">
                <a:solidFill>
                  <a:schemeClr val="bg1"/>
                </a:solidFill>
              </a:defRPr>
            </a:lvl2pPr>
            <a:lvl3pPr indent="-283464">
              <a:spcBef>
                <a:spcPts val="1800"/>
              </a:spcBef>
              <a:defRPr sz="2000">
                <a:solidFill>
                  <a:schemeClr val="bg1"/>
                </a:solidFill>
              </a:defRPr>
            </a:lvl3pPr>
            <a:lvl4pPr indent="-283464">
              <a:spcBef>
                <a:spcPts val="1800"/>
              </a:spcBef>
              <a:defRPr sz="2000">
                <a:solidFill>
                  <a:schemeClr val="bg1"/>
                </a:solidFill>
              </a:defRPr>
            </a:lvl4pPr>
            <a:lvl5pPr indent="-283464">
              <a:spcBef>
                <a:spcPts val="18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D80CCC8F-9CF1-9621-04EB-DFA68FEE42D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42" name="Date Placeholder 41">
            <a:extLst>
              <a:ext uri="{FF2B5EF4-FFF2-40B4-BE49-F238E27FC236}">
                <a16:creationId xmlns:a16="http://schemas.microsoft.com/office/drawing/2014/main" id="{29CE2856-DB8F-5603-C085-74C70560FAC8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79826C1-7A52-DA25-F422-EE62DED7D1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148840"/>
            <a:ext cx="2130552" cy="0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80892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79D0555-EBDC-B53A-212D-A5921795FE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80543"/>
          </a:xfrm>
          <a:custGeom>
            <a:avLst/>
            <a:gdLst>
              <a:gd name="connsiteX0" fmla="*/ 6309360 w 12192000"/>
              <a:gd name="connsiteY0" fmla="*/ 3951843 h 6880543"/>
              <a:gd name="connsiteX1" fmla="*/ 6309360 w 12192000"/>
              <a:gd name="connsiteY1" fmla="*/ 4052427 h 6880543"/>
              <a:gd name="connsiteX2" fmla="*/ 8442960 w 12192000"/>
              <a:gd name="connsiteY2" fmla="*/ 4052427 h 6880543"/>
              <a:gd name="connsiteX3" fmla="*/ 8442960 w 12192000"/>
              <a:gd name="connsiteY3" fmla="*/ 3951843 h 6880543"/>
              <a:gd name="connsiteX4" fmla="*/ 0 w 12192000"/>
              <a:gd name="connsiteY4" fmla="*/ 0 h 6880543"/>
              <a:gd name="connsiteX5" fmla="*/ 12192000 w 12192000"/>
              <a:gd name="connsiteY5" fmla="*/ 0 h 6880543"/>
              <a:gd name="connsiteX6" fmla="*/ 12192000 w 12192000"/>
              <a:gd name="connsiteY6" fmla="*/ 6880543 h 6880543"/>
              <a:gd name="connsiteX7" fmla="*/ 0 w 12192000"/>
              <a:gd name="connsiteY7" fmla="*/ 6880543 h 6880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80543">
                <a:moveTo>
                  <a:pt x="6309360" y="3951843"/>
                </a:moveTo>
                <a:lnTo>
                  <a:pt x="6309360" y="4052427"/>
                </a:lnTo>
                <a:lnTo>
                  <a:pt x="8442960" y="4052427"/>
                </a:lnTo>
                <a:lnTo>
                  <a:pt x="8442960" y="395184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80543"/>
                </a:lnTo>
                <a:lnTo>
                  <a:pt x="0" y="6880543"/>
                </a:lnTo>
                <a:close/>
              </a:path>
            </a:pathLst>
          </a:custGeom>
        </p:spPr>
        <p:txBody>
          <a:bodyPr wrap="square" tIns="18288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D492973-78E3-D34E-835E-CF2D45170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9359" y="444933"/>
            <a:ext cx="5477479" cy="329184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6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6BA398-1ED2-1FCA-63B9-8915A8C7A5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09360" y="3951843"/>
            <a:ext cx="2133600" cy="1005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169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4">
          <p15:clr>
            <a:srgbClr val="FBAE40"/>
          </p15:clr>
        </p15:guide>
        <p15:guide id="3" pos="4344" userDrawn="1">
          <p15:clr>
            <a:srgbClr val="FBAE40"/>
          </p15:clr>
        </p15:guide>
        <p15:guide id="4" pos="4560" userDrawn="1">
          <p15:clr>
            <a:srgbClr val="FBAE40"/>
          </p15:clr>
        </p15:guide>
        <p15:guide id="8" orient="horz" pos="184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9835" y="43052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9973BC6-F6E5-0B3B-C8AB-0AC4020D4E8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11113"/>
            <a:ext cx="5791200" cy="6880226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9835" y="4568602"/>
            <a:ext cx="5486400" cy="164592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169ED6-4B82-6844-119F-AC15CDF2D3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09360" y="3950208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7914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2D07A0BE-3890-193E-9439-F294E61A71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C05217ED-C258-E6CE-BA7F-28A6EA41B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20">
              <a:extLst>
                <a:ext uri="{FF2B5EF4-FFF2-40B4-BE49-F238E27FC236}">
                  <a16:creationId xmlns:a16="http://schemas.microsoft.com/office/drawing/2014/main" id="{F3E11A1F-14DD-BA35-D7D7-4D4ADEAA3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21">
              <a:extLst>
                <a:ext uri="{FF2B5EF4-FFF2-40B4-BE49-F238E27FC236}">
                  <a16:creationId xmlns:a16="http://schemas.microsoft.com/office/drawing/2014/main" id="{F14541B0-973F-7E21-1019-D2FB83C8C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32" name="Title 1">
            <a:extLst>
              <a:ext uri="{FF2B5EF4-FFF2-40B4-BE49-F238E27FC236}">
                <a16:creationId xmlns:a16="http://schemas.microsoft.com/office/drawing/2014/main" id="{467E05B6-B7CB-1E4F-96BA-4B8CFE8B63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102875"/>
            <a:ext cx="10873740" cy="168020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F6FE0DC0-B0D7-F4D6-8038-177AD7A8C21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57600" y="2282008"/>
            <a:ext cx="7810500" cy="3699328"/>
          </a:xfrm>
        </p:spPr>
        <p:txBody>
          <a:bodyPr lIns="0" tIns="228600" rIns="0" bIns="0">
            <a:normAutofit/>
          </a:bodyPr>
          <a:lstStyle>
            <a:lvl1pPr marL="283464" indent="-283464">
              <a:spcBef>
                <a:spcPts val="1800"/>
              </a:spcBef>
              <a:buFont typeface="Arial" panose="020B0604020202020204" pitchFamily="34" charset="0"/>
              <a:buChar char="•"/>
              <a:defRPr sz="2000"/>
            </a:lvl1pPr>
            <a:lvl2pPr indent="-283464">
              <a:spcBef>
                <a:spcPts val="1800"/>
              </a:spcBef>
              <a:defRPr sz="2000"/>
            </a:lvl2pPr>
            <a:lvl3pPr indent="-283464">
              <a:spcBef>
                <a:spcPts val="1800"/>
              </a:spcBef>
              <a:defRPr sz="2000"/>
            </a:lvl3pPr>
            <a:lvl4pPr indent="-283464">
              <a:spcBef>
                <a:spcPts val="1800"/>
              </a:spcBef>
              <a:defRPr sz="2000"/>
            </a:lvl4pPr>
            <a:lvl5pPr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ED58739-4346-5104-B1AC-89ED035912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272B8D-F380-9F1A-C8E6-BDD2352B1763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02964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304">
          <p15:clr>
            <a:srgbClr val="FBAE40"/>
          </p15:clr>
        </p15:guide>
        <p15:guide id="4" pos="5736">
          <p15:clr>
            <a:srgbClr val="FBAE40"/>
          </p15:clr>
        </p15:guide>
        <p15:guide id="5" pos="1944">
          <p15:clr>
            <a:srgbClr val="FBAE40"/>
          </p15:clr>
        </p15:guide>
        <p15:guide id="6" pos="4008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440">
          <p15:clr>
            <a:srgbClr val="FBAE40"/>
          </p15:clr>
        </p15:guide>
        <p15:guide id="9" orient="horz" pos="552">
          <p15:clr>
            <a:srgbClr val="FBAE40"/>
          </p15:clr>
        </p15:guide>
        <p15:guide id="10" pos="5352">
          <p15:clr>
            <a:srgbClr val="FBAE40"/>
          </p15:clr>
        </p15:guide>
        <p15:guide id="11" pos="364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09904" y="41147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6C18C3-ED25-DD4B-BA72-24932D54D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" y="758752"/>
            <a:ext cx="6099248" cy="6099248"/>
            <a:chOff x="0" y="12289"/>
            <a:chExt cx="3550" cy="355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9905" y="4549552"/>
            <a:ext cx="5486400" cy="164592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271085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97D5AF2-684A-4A8D-3D82-B57D7AC44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8870040" y="0"/>
            <a:ext cx="3325208" cy="3325208"/>
            <a:chOff x="0" y="12289"/>
            <a:chExt cx="3550" cy="3551"/>
          </a:xfrm>
        </p:grpSpPr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8CF5F650-F8F0-F4FE-44DA-1F14ADE42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8870924-E47D-404F-59B5-BD1C58F7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80806A65-E4FC-2F52-65B3-CC181E620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278129"/>
            <a:ext cx="9778365" cy="149459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F14DA3C5-63E4-BAFB-1D68-47F71EEEE53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94360" y="2676525"/>
            <a:ext cx="4490827" cy="3597470"/>
          </a:xfrm>
        </p:spPr>
        <p:txBody>
          <a:bodyPr lIns="0" tIns="4572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283464" indent="-283464">
              <a:spcBef>
                <a:spcPts val="1800"/>
              </a:spcBef>
              <a:defRPr sz="2000"/>
            </a:lvl2pPr>
            <a:lvl3pPr marL="594360" indent="-283464">
              <a:spcBef>
                <a:spcPts val="1800"/>
              </a:spcBef>
              <a:defRPr sz="2000"/>
            </a:lvl3pPr>
            <a:lvl4pPr marL="822960" indent="-283464">
              <a:spcBef>
                <a:spcPts val="1800"/>
              </a:spcBef>
              <a:defRPr sz="2000"/>
            </a:lvl4pPr>
            <a:lvl5pPr marL="1005840"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BD11386D-847E-8CF5-E56A-42E80A65A08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881898" y="2676525"/>
            <a:ext cx="4490827" cy="3597470"/>
          </a:xfrm>
        </p:spPr>
        <p:txBody>
          <a:bodyPr lIns="0" tIns="4572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283464" indent="-283464">
              <a:spcBef>
                <a:spcPts val="1800"/>
              </a:spcBef>
              <a:defRPr sz="2000"/>
            </a:lvl2pPr>
            <a:lvl3pPr marL="548640" indent="-283464">
              <a:spcBef>
                <a:spcPts val="1800"/>
              </a:spcBef>
              <a:defRPr sz="2000"/>
            </a:lvl3pPr>
            <a:lvl4pPr marL="822960" indent="-283464">
              <a:spcBef>
                <a:spcPts val="1800"/>
              </a:spcBef>
              <a:defRPr sz="2000"/>
            </a:lvl4pPr>
            <a:lvl5pPr marL="1005840"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41056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42E558A9-6DD6-E21D-3A8F-6707E1DD19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362700" y="0"/>
            <a:ext cx="5829298" cy="3235602"/>
            <a:chOff x="5612972" y="1"/>
            <a:chExt cx="6615961" cy="3672246"/>
          </a:xfrm>
        </p:grpSpPr>
        <p:sp>
          <p:nvSpPr>
            <p:cNvPr id="12" name="AutoShape 24">
              <a:extLst>
                <a:ext uri="{FF2B5EF4-FFF2-40B4-BE49-F238E27FC236}">
                  <a16:creationId xmlns:a16="http://schemas.microsoft.com/office/drawing/2014/main" id="{3FC994E4-318C-1E66-B4E4-8F8FD08E0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972" y="1"/>
              <a:ext cx="4408998" cy="3672246"/>
            </a:xfrm>
            <a:custGeom>
              <a:avLst/>
              <a:gdLst>
                <a:gd name="T0" fmla="+- 0 8372 6586"/>
                <a:gd name="T1" fmla="*/ T0 w 3578"/>
                <a:gd name="T2" fmla="*/ 591 h 2980"/>
                <a:gd name="T3" fmla="+- 0 7780 6586"/>
                <a:gd name="T4" fmla="*/ T3 w 3578"/>
                <a:gd name="T5" fmla="*/ 0 h 2980"/>
                <a:gd name="T6" fmla="+- 0 6586 6586"/>
                <a:gd name="T7" fmla="*/ T6 w 3578"/>
                <a:gd name="T8" fmla="*/ 0 h 2980"/>
                <a:gd name="T9" fmla="+- 0 7774 6586"/>
                <a:gd name="T10" fmla="*/ T9 w 3578"/>
                <a:gd name="T11" fmla="*/ 1188 h 2980"/>
                <a:gd name="T12" fmla="+- 0 8372 6586"/>
                <a:gd name="T13" fmla="*/ T12 w 3578"/>
                <a:gd name="T14" fmla="*/ 591 h 2980"/>
                <a:gd name="T15" fmla="+- 0 10163 6586"/>
                <a:gd name="T16" fmla="*/ T15 w 3578"/>
                <a:gd name="T17" fmla="*/ 2383 h 2980"/>
                <a:gd name="T18" fmla="+- 0 9566 6586"/>
                <a:gd name="T19" fmla="*/ T18 w 3578"/>
                <a:gd name="T20" fmla="*/ 1786 h 2980"/>
                <a:gd name="T21" fmla="+- 0 8969 6586"/>
                <a:gd name="T22" fmla="*/ T21 w 3578"/>
                <a:gd name="T23" fmla="*/ 2383 h 2980"/>
                <a:gd name="T24" fmla="+- 0 9566 6586"/>
                <a:gd name="T25" fmla="*/ T24 w 3578"/>
                <a:gd name="T26" fmla="*/ 2980 h 2980"/>
                <a:gd name="T27" fmla="+- 0 10163 6586"/>
                <a:gd name="T28" fmla="*/ T27 w 3578"/>
                <a:gd name="T29" fmla="*/ 2383 h 298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  <a:cxn ang="0">
                  <a:pos x="T13" y="T14"/>
                </a:cxn>
                <a:cxn ang="0">
                  <a:pos x="T16" y="T17"/>
                </a:cxn>
                <a:cxn ang="0">
                  <a:pos x="T19" y="T20"/>
                </a:cxn>
                <a:cxn ang="0">
                  <a:pos x="T22" y="T23"/>
                </a:cxn>
                <a:cxn ang="0">
                  <a:pos x="T25" y="T26"/>
                </a:cxn>
                <a:cxn ang="0">
                  <a:pos x="T28" y="T29"/>
                </a:cxn>
              </a:cxnLst>
              <a:rect l="0" t="0" r="r" b="b"/>
              <a:pathLst>
                <a:path w="3578" h="2980">
                  <a:moveTo>
                    <a:pt x="1786" y="591"/>
                  </a:moveTo>
                  <a:lnTo>
                    <a:pt x="1194" y="0"/>
                  </a:lnTo>
                  <a:lnTo>
                    <a:pt x="0" y="0"/>
                  </a:lnTo>
                  <a:lnTo>
                    <a:pt x="1188" y="1188"/>
                  </a:lnTo>
                  <a:lnTo>
                    <a:pt x="1786" y="591"/>
                  </a:lnTo>
                  <a:moveTo>
                    <a:pt x="3577" y="2383"/>
                  </a:moveTo>
                  <a:lnTo>
                    <a:pt x="2980" y="1786"/>
                  </a:lnTo>
                  <a:lnTo>
                    <a:pt x="2383" y="2383"/>
                  </a:lnTo>
                  <a:lnTo>
                    <a:pt x="2980" y="2980"/>
                  </a:lnTo>
                  <a:lnTo>
                    <a:pt x="3577" y="2383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17C00E6B-F625-6D6C-8364-9DD9F3C36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233" y="1463970"/>
              <a:ext cx="2208196" cy="2208277"/>
            </a:xfrm>
            <a:custGeom>
              <a:avLst/>
              <a:gdLst>
                <a:gd name="T0" fmla="+- 0 7774 7177"/>
                <a:gd name="T1" fmla="*/ T0 w 1792"/>
                <a:gd name="T2" fmla="+- 0 1188 1188"/>
                <a:gd name="T3" fmla="*/ 1188 h 1792"/>
                <a:gd name="T4" fmla="+- 0 7177 7177"/>
                <a:gd name="T5" fmla="*/ T4 w 1792"/>
                <a:gd name="T6" fmla="+- 0 1786 1188"/>
                <a:gd name="T7" fmla="*/ 1786 h 1792"/>
                <a:gd name="T8" fmla="+- 0 8372 7177"/>
                <a:gd name="T9" fmla="*/ T8 w 1792"/>
                <a:gd name="T10" fmla="+- 0 2980 1188"/>
                <a:gd name="T11" fmla="*/ 2980 h 1792"/>
                <a:gd name="T12" fmla="+- 0 8969 7177"/>
                <a:gd name="T13" fmla="*/ T12 w 1792"/>
                <a:gd name="T14" fmla="+- 0 2383 1188"/>
                <a:gd name="T15" fmla="*/ 2383 h 1792"/>
                <a:gd name="T16" fmla="+- 0 7774 7177"/>
                <a:gd name="T17" fmla="*/ T16 w 1792"/>
                <a:gd name="T18" fmla="+- 0 1188 1188"/>
                <a:gd name="T19" fmla="*/ 1188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7" y="0"/>
                  </a:moveTo>
                  <a:lnTo>
                    <a:pt x="0" y="598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C6197B87-4F65-7981-9463-84830CD368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5590" y="1"/>
              <a:ext cx="1457754" cy="729520"/>
            </a:xfrm>
            <a:custGeom>
              <a:avLst/>
              <a:gdLst>
                <a:gd name="T0" fmla="+- 0 10158 8975"/>
                <a:gd name="T1" fmla="*/ T0 w 1183"/>
                <a:gd name="T2" fmla="*/ 0 h 592"/>
                <a:gd name="T3" fmla="+- 0 8975 8975"/>
                <a:gd name="T4" fmla="*/ T3 w 1183"/>
                <a:gd name="T5" fmla="*/ 0 h 592"/>
                <a:gd name="T6" fmla="+- 0 9566 8975"/>
                <a:gd name="T7" fmla="*/ T6 w 1183"/>
                <a:gd name="T8" fmla="*/ 591 h 592"/>
                <a:gd name="T9" fmla="+- 0 10158 8975"/>
                <a:gd name="T10" fmla="*/ T9 w 1183"/>
                <a:gd name="T11" fmla="*/ 0 h 592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183" h="592">
                  <a:moveTo>
                    <a:pt x="1183" y="0"/>
                  </a:moveTo>
                  <a:lnTo>
                    <a:pt x="0" y="0"/>
                  </a:lnTo>
                  <a:lnTo>
                    <a:pt x="591" y="591"/>
                  </a:lnTo>
                  <a:lnTo>
                    <a:pt x="11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6AA517C-7217-D864-B7E7-40984A288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887" y="728289"/>
              <a:ext cx="2208196" cy="2208277"/>
            </a:xfrm>
            <a:custGeom>
              <a:avLst/>
              <a:gdLst>
                <a:gd name="T0" fmla="+- 0 8372 7774"/>
                <a:gd name="T1" fmla="*/ T0 w 1792"/>
                <a:gd name="T2" fmla="+- 0 591 591"/>
                <a:gd name="T3" fmla="*/ 591 h 1792"/>
                <a:gd name="T4" fmla="+- 0 7774 7774"/>
                <a:gd name="T5" fmla="*/ T4 w 1792"/>
                <a:gd name="T6" fmla="+- 0 1188 591"/>
                <a:gd name="T7" fmla="*/ 1188 h 1792"/>
                <a:gd name="T8" fmla="+- 0 8969 7774"/>
                <a:gd name="T9" fmla="*/ T8 w 1792"/>
                <a:gd name="T10" fmla="+- 0 2383 591"/>
                <a:gd name="T11" fmla="*/ 2383 h 1792"/>
                <a:gd name="T12" fmla="+- 0 9566 7774"/>
                <a:gd name="T13" fmla="*/ T12 w 1792"/>
                <a:gd name="T14" fmla="+- 0 1786 591"/>
                <a:gd name="T15" fmla="*/ 1786 h 1792"/>
                <a:gd name="T16" fmla="+- 0 8372 7774"/>
                <a:gd name="T17" fmla="*/ T16 w 1792"/>
                <a:gd name="T18" fmla="+- 0 591 591"/>
                <a:gd name="T19" fmla="*/ 591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8" y="0"/>
                  </a:moveTo>
                  <a:lnTo>
                    <a:pt x="0" y="597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24013C6-491C-CAA2-5BD6-7C7359671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5083" y="728289"/>
              <a:ext cx="2943850" cy="2943958"/>
            </a:xfrm>
            <a:custGeom>
              <a:avLst/>
              <a:gdLst>
                <a:gd name="T0" fmla="+- 0 11955 9566"/>
                <a:gd name="T1" fmla="*/ T0 w 2389"/>
                <a:gd name="T2" fmla="+- 0 1786 591"/>
                <a:gd name="T3" fmla="*/ 1786 h 2389"/>
                <a:gd name="T4" fmla="+- 0 10760 9566"/>
                <a:gd name="T5" fmla="*/ T4 w 2389"/>
                <a:gd name="T6" fmla="+- 0 591 591"/>
                <a:gd name="T7" fmla="*/ 591 h 2389"/>
                <a:gd name="T8" fmla="+- 0 9566 9566"/>
                <a:gd name="T9" fmla="*/ T8 w 2389"/>
                <a:gd name="T10" fmla="+- 0 1786 591"/>
                <a:gd name="T11" fmla="*/ 1786 h 2389"/>
                <a:gd name="T12" fmla="+- 0 10760 9566"/>
                <a:gd name="T13" fmla="*/ T12 w 2389"/>
                <a:gd name="T14" fmla="+- 0 2980 591"/>
                <a:gd name="T15" fmla="*/ 2980 h 2389"/>
                <a:gd name="T16" fmla="+- 0 11955 9566"/>
                <a:gd name="T17" fmla="*/ T16 w 2389"/>
                <a:gd name="T18" fmla="+- 0 1786 591"/>
                <a:gd name="T19" fmla="*/ 1786 h 238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2389" h="2389">
                  <a:moveTo>
                    <a:pt x="2389" y="1195"/>
                  </a:moveTo>
                  <a:lnTo>
                    <a:pt x="1194" y="0"/>
                  </a:lnTo>
                  <a:lnTo>
                    <a:pt x="0" y="1195"/>
                  </a:lnTo>
                  <a:lnTo>
                    <a:pt x="1194" y="2389"/>
                  </a:lnTo>
                  <a:lnTo>
                    <a:pt x="2389" y="1195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8885" y="3499667"/>
            <a:ext cx="4939666" cy="254281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007FA9C-C4D5-89EC-C457-5F329A338E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3885" y="457201"/>
            <a:ext cx="5198269" cy="2305050"/>
          </a:xfrm>
        </p:spPr>
        <p:txBody>
          <a:bodyPr lIns="0" tIns="274320">
            <a:normAutofit/>
          </a:bodyPr>
          <a:lstStyle>
            <a:lvl1pPr marL="457200" indent="-457200">
              <a:spcBef>
                <a:spcPts val="1800"/>
              </a:spcBef>
              <a:buFont typeface="+mj-lt"/>
              <a:buAutoNum type="arabicPeriod"/>
              <a:defRPr sz="2000"/>
            </a:lvl1pPr>
            <a:lvl2pPr marL="914400" indent="-457200">
              <a:spcBef>
                <a:spcPts val="1800"/>
              </a:spcBef>
              <a:buFont typeface="+mj-lt"/>
              <a:buAutoNum type="alphaLcPeriod"/>
              <a:defRPr sz="2000"/>
            </a:lvl2pPr>
            <a:lvl3pPr marL="1371600" indent="-457200">
              <a:spcBef>
                <a:spcPts val="1800"/>
              </a:spcBef>
              <a:buFont typeface="+mj-lt"/>
              <a:buAutoNum type="arabicParenR"/>
              <a:defRPr sz="2000"/>
            </a:lvl3pPr>
            <a:lvl4pPr marL="1371600" indent="0">
              <a:spcBef>
                <a:spcPts val="1800"/>
              </a:spcBef>
              <a:buFont typeface="+mj-lt"/>
              <a:buNone/>
              <a:defRPr sz="2000"/>
            </a:lvl4pPr>
            <a:lvl5pPr marL="2286000" indent="-457200">
              <a:spcBef>
                <a:spcPts val="1800"/>
              </a:spcBef>
              <a:buFont typeface="+mj-lt"/>
              <a:buAutoNum type="arabicPeriod"/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3AC171DA-232D-44C1-6B93-40BACB298F4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94360" y="2810595"/>
            <a:ext cx="5198269" cy="3319513"/>
          </a:xfrm>
        </p:spPr>
        <p:txBody>
          <a:bodyPr lIns="0" tIns="4572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283464" indent="-283464">
              <a:spcBef>
                <a:spcPts val="1800"/>
              </a:spcBef>
              <a:defRPr sz="2000"/>
            </a:lvl2pPr>
            <a:lvl3pPr marL="548640" indent="-283464">
              <a:spcBef>
                <a:spcPts val="1800"/>
              </a:spcBef>
              <a:defRPr sz="2000"/>
            </a:lvl3pPr>
            <a:lvl4pPr marL="822960" indent="-283464">
              <a:spcBef>
                <a:spcPts val="1800"/>
              </a:spcBef>
              <a:defRPr sz="2000"/>
            </a:lvl4pPr>
            <a:lvl5pPr marL="1005840"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4606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310" y="278129"/>
            <a:ext cx="5063490" cy="235402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1EF4505D-6803-3813-7738-04996342781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94360" y="3279579"/>
            <a:ext cx="5044440" cy="2994415"/>
          </a:xfrm>
        </p:spPr>
        <p:txBody>
          <a:bodyPr lIns="0" tIns="22860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indent="-283464">
              <a:spcBef>
                <a:spcPts val="1800"/>
              </a:spcBef>
              <a:defRPr sz="2000"/>
            </a:lvl2pPr>
            <a:lvl3pPr indent="-283464">
              <a:spcBef>
                <a:spcPts val="1800"/>
              </a:spcBef>
              <a:defRPr sz="2000"/>
            </a:lvl3pPr>
            <a:lvl4pPr indent="-283464">
              <a:spcBef>
                <a:spcPts val="1800"/>
              </a:spcBef>
              <a:defRPr sz="2000"/>
            </a:lvl4pPr>
            <a:lvl5pPr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658637A-5D36-6127-19BC-C203E23FA4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118225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9319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317F108-C588-0124-5613-E2829A6815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25719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25" imgH="424" progId="TCLayout.ActiveDocument.1">
                  <p:embed/>
                </p:oleObj>
              </mc:Choice>
              <mc:Fallback>
                <p:oleObj name="think-cell Slide" r:id="rId16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17F108-C588-0124-5613-E2829A6815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ED84C6-50E6-6C43-8031-AFF6268E0C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4360" y="1825625"/>
            <a:ext cx="103822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D41FC0AE-253D-D242-9C88-017078F8A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365125"/>
            <a:ext cx="104013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EF47083A-6D76-4B4D-87CA-E08E212F78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33648" y="6332220"/>
            <a:ext cx="1313180" cy="24765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0" i="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C8ADA0DF-3751-9A48-8A21-59F01C782D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4360" y="6332220"/>
            <a:ext cx="523240" cy="24765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1" i="0">
                <a:solidFill>
                  <a:schemeClr val="bg1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922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1" r:id="rId1"/>
    <p:sldLayoutId id="2147483698" r:id="rId2"/>
    <p:sldLayoutId id="2147483710" r:id="rId3"/>
    <p:sldLayoutId id="2147483700" r:id="rId4"/>
    <p:sldLayoutId id="2147483701" r:id="rId5"/>
    <p:sldLayoutId id="2147483659" r:id="rId6"/>
    <p:sldLayoutId id="2147483709" r:id="rId7"/>
    <p:sldLayoutId id="2147483708" r:id="rId8"/>
    <p:sldLayoutId id="2147483707" r:id="rId9"/>
    <p:sldLayoutId id="2147483706" r:id="rId10"/>
    <p:sldLayoutId id="2147483705" r:id="rId11"/>
    <p:sldLayoutId id="2147483704" r:id="rId12"/>
    <p:sldLayoutId id="2147483703" r:id="rId13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b="1" i="0" kern="1200" spc="100" baseline="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83464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40">
          <p15:clr>
            <a:srgbClr val="547EBF"/>
          </p15:clr>
        </p15:guide>
        <p15:guide id="4" orient="horz" pos="240">
          <p15:clr>
            <a:srgbClr val="547EBF"/>
          </p15:clr>
        </p15:guide>
        <p15:guide id="5" pos="7440">
          <p15:clr>
            <a:srgbClr val="547EBF"/>
          </p15:clr>
        </p15:guide>
        <p15:guide id="6" orient="horz" pos="4080">
          <p15:clr>
            <a:srgbClr val="547EBF"/>
          </p15:clr>
        </p15:guide>
        <p15:guide id="7" pos="600" userDrawn="1">
          <p15:clr>
            <a:srgbClr val="547EBF"/>
          </p15:clr>
        </p15:guide>
        <p15:guide id="8" pos="3720">
          <p15:clr>
            <a:srgbClr val="547EBF"/>
          </p15:clr>
        </p15:guide>
        <p15:guide id="9" pos="2112">
          <p15:clr>
            <a:srgbClr val="547EBF"/>
          </p15:clr>
        </p15:guide>
        <p15:guide id="10" pos="1848">
          <p15:clr>
            <a:srgbClr val="547EBF"/>
          </p15:clr>
        </p15:guide>
        <p15:guide id="11" pos="5568">
          <p15:clr>
            <a:srgbClr val="547EBF"/>
          </p15:clr>
        </p15:guide>
        <p15:guide id="12" pos="5832">
          <p15:clr>
            <a:srgbClr val="547EBF"/>
          </p15:clr>
        </p15:guide>
        <p15:guide id="13" pos="4968">
          <p15:clr>
            <a:srgbClr val="9FCC3B"/>
          </p15:clr>
        </p15:guide>
        <p15:guide id="14" pos="5208">
          <p15:clr>
            <a:srgbClr val="9FCC3B"/>
          </p15:clr>
        </p15:guide>
        <p15:guide id="15" pos="2712">
          <p15:clr>
            <a:srgbClr val="9FCC3B"/>
          </p15:clr>
        </p15:guide>
        <p15:guide id="16" pos="2472">
          <p15:clr>
            <a:srgbClr val="9FCC3B"/>
          </p15:clr>
        </p15:guide>
        <p15:guide id="17" pos="39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18" Type="http://schemas.openxmlformats.org/officeDocument/2006/relationships/image" Target="../media/image15.png"/><Relationship Id="rId26" Type="http://schemas.openxmlformats.org/officeDocument/2006/relationships/image" Target="../media/image23.svg"/><Relationship Id="rId39" Type="http://schemas.openxmlformats.org/officeDocument/2006/relationships/image" Target="../media/image36.pn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18.svg"/><Relationship Id="rId34" Type="http://schemas.openxmlformats.org/officeDocument/2006/relationships/image" Target="../media/image31.svg"/><Relationship Id="rId42" Type="http://schemas.openxmlformats.org/officeDocument/2006/relationships/image" Target="../media/image39.svg"/><Relationship Id="rId7" Type="http://schemas.openxmlformats.org/officeDocument/2006/relationships/image" Target="../media/image4.svg"/><Relationship Id="rId12" Type="http://schemas.openxmlformats.org/officeDocument/2006/relationships/image" Target="../media/image9.png"/><Relationship Id="rId17" Type="http://schemas.openxmlformats.org/officeDocument/2006/relationships/image" Target="../media/image14.svg"/><Relationship Id="rId25" Type="http://schemas.openxmlformats.org/officeDocument/2006/relationships/image" Target="../media/image22.png"/><Relationship Id="rId33" Type="http://schemas.openxmlformats.org/officeDocument/2006/relationships/image" Target="../media/image30.png"/><Relationship Id="rId38" Type="http://schemas.openxmlformats.org/officeDocument/2006/relationships/image" Target="../media/image35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29" Type="http://schemas.openxmlformats.org/officeDocument/2006/relationships/image" Target="../media/image26.png"/><Relationship Id="rId41" Type="http://schemas.openxmlformats.org/officeDocument/2006/relationships/image" Target="../media/image38.png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24" Type="http://schemas.openxmlformats.org/officeDocument/2006/relationships/image" Target="../media/image21.svg"/><Relationship Id="rId32" Type="http://schemas.openxmlformats.org/officeDocument/2006/relationships/image" Target="../media/image29.svg"/><Relationship Id="rId37" Type="http://schemas.openxmlformats.org/officeDocument/2006/relationships/image" Target="../media/image34.png"/><Relationship Id="rId40" Type="http://schemas.openxmlformats.org/officeDocument/2006/relationships/image" Target="../media/image37.svg"/><Relationship Id="rId5" Type="http://schemas.openxmlformats.org/officeDocument/2006/relationships/image" Target="../media/image1.emf"/><Relationship Id="rId15" Type="http://schemas.openxmlformats.org/officeDocument/2006/relationships/image" Target="../media/image12.svg"/><Relationship Id="rId23" Type="http://schemas.openxmlformats.org/officeDocument/2006/relationships/image" Target="../media/image20.png"/><Relationship Id="rId28" Type="http://schemas.openxmlformats.org/officeDocument/2006/relationships/image" Target="../media/image25.svg"/><Relationship Id="rId36" Type="http://schemas.openxmlformats.org/officeDocument/2006/relationships/image" Target="../media/image33.svg"/><Relationship Id="rId10" Type="http://schemas.openxmlformats.org/officeDocument/2006/relationships/image" Target="../media/image7.png"/><Relationship Id="rId19" Type="http://schemas.openxmlformats.org/officeDocument/2006/relationships/image" Target="../media/image16.svg"/><Relationship Id="rId31" Type="http://schemas.openxmlformats.org/officeDocument/2006/relationships/image" Target="../media/image28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Relationship Id="rId14" Type="http://schemas.openxmlformats.org/officeDocument/2006/relationships/image" Target="../media/image11.png"/><Relationship Id="rId22" Type="http://schemas.openxmlformats.org/officeDocument/2006/relationships/image" Target="../media/image19.png"/><Relationship Id="rId27" Type="http://schemas.openxmlformats.org/officeDocument/2006/relationships/image" Target="../media/image24.png"/><Relationship Id="rId30" Type="http://schemas.openxmlformats.org/officeDocument/2006/relationships/image" Target="../media/image27.svg"/><Relationship Id="rId35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.x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.xml"/><Relationship Id="rId6" Type="http://schemas.openxmlformats.org/officeDocument/2006/relationships/image" Target="../media/image4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8CA0E0A-EB7B-A881-E3D6-FD63EE9DC3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201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CA0E0A-EB7B-A881-E3D6-FD63EE9DC3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603ECB6A-93B7-679E-B196-8ACC2CEF44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999" y="764197"/>
            <a:ext cx="9144000" cy="920446"/>
          </a:xfrm>
          <a:solidFill>
            <a:schemeClr val="tx1"/>
          </a:solidFill>
        </p:spPr>
        <p:txBody>
          <a:bodyPr vert="horz" anchor="ctr">
            <a:normAutofit/>
          </a:bodyPr>
          <a:lstStyle/>
          <a:p>
            <a:pPr algn="ctr" defTabSz="457200">
              <a:lnSpc>
                <a:spcPct val="100000"/>
              </a:lnSpc>
            </a:pPr>
            <a:r>
              <a:rPr lang="en-ZA" sz="2800" dirty="0">
                <a:solidFill>
                  <a:srgbClr val="0070C0"/>
                </a:solidFill>
                <a:latin typeface="Century Schoolbook" panose="02040604050505020304" pitchFamily="18" charset="0"/>
              </a:rPr>
              <a:t>2409PTDS Classification Project 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FEDC2E4-D854-3BF9-41DB-84D858B8047E}"/>
              </a:ext>
            </a:extLst>
          </p:cNvPr>
          <p:cNvSpPr txBox="1">
            <a:spLocks/>
          </p:cNvSpPr>
          <p:nvPr/>
        </p:nvSpPr>
        <p:spPr>
          <a:xfrm>
            <a:off x="2380033" y="1782155"/>
            <a:ext cx="7937770" cy="1058034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spcBef>
                <a:spcPct val="0"/>
              </a:spcBef>
              <a:buNone/>
            </a:pPr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  <a:ea typeface="+mj-ea"/>
                <a:cs typeface="+mj-cs"/>
              </a:rPr>
              <a:t>Team Members	</a:t>
            </a:r>
          </a:p>
          <a:p>
            <a:pPr marL="0" indent="0" algn="ctr" defTabSz="457200">
              <a:spcBef>
                <a:spcPct val="0"/>
              </a:spcBef>
              <a:buNone/>
            </a:pPr>
            <a:r>
              <a:rPr lang="en-ZA" sz="2000" dirty="0">
                <a:latin typeface="Century Schoolbook" panose="02040604050505020304" pitchFamily="18" charset="0"/>
                <a:ea typeface="+mj-ea"/>
                <a:cs typeface="+mj-cs"/>
              </a:rPr>
              <a:t>Katy Sonnekus, Jerusha Ramsammy, Maragaret Dangirwa, </a:t>
            </a:r>
          </a:p>
          <a:p>
            <a:pPr marL="0" indent="0" algn="ctr" defTabSz="457200">
              <a:spcBef>
                <a:spcPct val="0"/>
              </a:spcBef>
              <a:buNone/>
            </a:pPr>
            <a:r>
              <a:rPr lang="en-ZA" sz="2000" dirty="0">
                <a:latin typeface="Century Schoolbook" panose="02040604050505020304" pitchFamily="18" charset="0"/>
                <a:ea typeface="+mj-ea"/>
                <a:cs typeface="+mj-cs"/>
              </a:rPr>
              <a:t>Neville Gramoney, Samantha Ganase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B1518A8-9D59-6956-7E95-C7EAB23E304E}"/>
              </a:ext>
            </a:extLst>
          </p:cNvPr>
          <p:cNvSpPr txBox="1"/>
          <p:nvPr/>
        </p:nvSpPr>
        <p:spPr>
          <a:xfrm>
            <a:off x="2029837" y="3209685"/>
            <a:ext cx="8638162" cy="923330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just"/>
            <a:r>
              <a:rPr lang="en-ZA" b="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This project focuses on building a robust machine learning pipeline to classify news articles into predefined categories. It encompasses the full lifecycle from data preprocessing to model deployment in a </a:t>
            </a:r>
            <a:r>
              <a:rPr lang="en-ZA" b="0" i="0" dirty="0" err="1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Streamlit</a:t>
            </a:r>
            <a:r>
              <a:rPr lang="en-ZA" b="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 application.</a:t>
            </a:r>
            <a:endParaRPr lang="en-ZA" dirty="0">
              <a:solidFill>
                <a:schemeClr val="bg1"/>
              </a:solidFill>
              <a:latin typeface="Century Schoolbook" panose="02040604050505020304" pitchFamily="18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002359E-3A12-B154-19A0-8DEE5F77F5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47980" y="4641957"/>
            <a:ext cx="6113392" cy="2032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304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CCB015D-8B57-436C-3036-EA7D6C04A0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2393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CB015D-8B57-436C-3036-EA7D6C04A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9A89D80B-49B8-16AD-96C6-524234A73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</p:spPr>
        <p:txBody>
          <a:bodyPr vert="horz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7. GitHub &amp; Environment Setup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0A21CFB1-43E3-AB21-B8DF-C887D34EB876}"/>
              </a:ext>
            </a:extLst>
          </p:cNvPr>
          <p:cNvSpPr txBox="1">
            <a:spLocks/>
          </p:cNvSpPr>
          <p:nvPr/>
        </p:nvSpPr>
        <p:spPr>
          <a:xfrm>
            <a:off x="838200" y="943584"/>
            <a:ext cx="10515600" cy="523337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600" dirty="0">
                <a:latin typeface="Century Schoolbook" panose="02040604050505020304" pitchFamily="18" charset="0"/>
              </a:rPr>
              <a:t>Repository Setup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Private repo with collaborators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Updated README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requirements.txt for environment recreation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Environment Creation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Using </a:t>
            </a:r>
            <a:r>
              <a:rPr lang="en-ZA" sz="1600" dirty="0" err="1">
                <a:latin typeface="Century Schoolbook" panose="02040604050505020304" pitchFamily="18" charset="0"/>
              </a:rPr>
              <a:t>Conda</a:t>
            </a:r>
            <a:r>
              <a:rPr lang="en-ZA" sz="1600" dirty="0">
                <a:latin typeface="Century Schoolbook" panose="02040604050505020304" pitchFamily="18" charset="0"/>
              </a:rPr>
              <a:t> and pip</a:t>
            </a:r>
            <a:endParaRPr lang="en-ZA" sz="1200" dirty="0">
              <a:latin typeface="Century Schoolbook" panose="02040604050505020304" pitchFamily="18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B729965-7EF6-AF32-2195-D031E985C8E1}"/>
              </a:ext>
            </a:extLst>
          </p:cNvPr>
          <p:cNvSpPr txBox="1">
            <a:spLocks/>
          </p:cNvSpPr>
          <p:nvPr/>
        </p:nvSpPr>
        <p:spPr>
          <a:xfrm>
            <a:off x="873760" y="3213211"/>
            <a:ext cx="10515600" cy="57845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i="0" kern="1200" spc="1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ZA" sz="2000" dirty="0">
                <a:solidFill>
                  <a:srgbClr val="0070C0"/>
                </a:solidFill>
                <a:latin typeface="Century Schoolbook" panose="02040604050505020304" pitchFamily="18" charset="0"/>
              </a:rPr>
              <a:t>8. Project Management Tool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757243-A414-159F-D67C-0872145A1C06}"/>
              </a:ext>
            </a:extLst>
          </p:cNvPr>
          <p:cNvSpPr txBox="1">
            <a:spLocks/>
          </p:cNvSpPr>
          <p:nvPr/>
        </p:nvSpPr>
        <p:spPr>
          <a:xfrm>
            <a:off x="855980" y="3791669"/>
            <a:ext cx="10515600" cy="161154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Trello Board: For task tracking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 err="1">
                <a:latin typeface="Century Schoolbook" panose="02040604050505020304" pitchFamily="18" charset="0"/>
              </a:rPr>
              <a:t>Jupyter</a:t>
            </a:r>
            <a:r>
              <a:rPr lang="en-ZA" sz="1600" dirty="0">
                <a:latin typeface="Century Schoolbook" panose="02040604050505020304" pitchFamily="18" charset="0"/>
              </a:rPr>
              <a:t> Notebook: For developmen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Helpful Links: </a:t>
            </a:r>
            <a:r>
              <a:rPr lang="en-ZA" sz="1600" dirty="0" err="1">
                <a:latin typeface="Century Schoolbook" panose="02040604050505020304" pitchFamily="18" charset="0"/>
              </a:rPr>
              <a:t>Streamlit</a:t>
            </a:r>
            <a:r>
              <a:rPr lang="en-ZA" sz="1600" dirty="0">
                <a:latin typeface="Century Schoolbook" panose="02040604050505020304" pitchFamily="18" charset="0"/>
              </a:rPr>
              <a:t>, Markdown </a:t>
            </a:r>
            <a:r>
              <a:rPr lang="en-ZA" sz="1600" dirty="0" err="1">
                <a:latin typeface="Century Schoolbook" panose="02040604050505020304" pitchFamily="18" charset="0"/>
              </a:rPr>
              <a:t>cheatsheet</a:t>
            </a:r>
            <a:endParaRPr lang="en-ZA" sz="1600" dirty="0">
              <a:latin typeface="Century Schoolbook" panose="02040604050505020304" pitchFamily="18" charset="0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292B11F9-6FF7-8518-3DE8-601EDBC72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0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276951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7658423-4F50-F63B-EFF1-F1E1CA9E05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4964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658423-4F50-F63B-EFF1-F1E1CA9E0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8CACDC11-1D97-89BD-F2F0-7A122D62BB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  <a:solidFill>
            <a:schemeClr val="tx1"/>
          </a:solidFill>
        </p:spPr>
        <p:txBody>
          <a:bodyPr vert="horz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8. Conclusio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06010DB-02A6-1AEE-5381-FFC3F5614369}"/>
              </a:ext>
            </a:extLst>
          </p:cNvPr>
          <p:cNvSpPr txBox="1">
            <a:spLocks/>
          </p:cNvSpPr>
          <p:nvPr/>
        </p:nvSpPr>
        <p:spPr>
          <a:xfrm>
            <a:off x="838200" y="943584"/>
            <a:ext cx="10515600" cy="5233379"/>
          </a:xfrm>
          <a:prstGeom prst="rect">
            <a:avLst/>
          </a:prstGeom>
          <a:solidFill>
            <a:schemeClr val="tx1"/>
          </a:solidFill>
        </p:spPr>
        <p:txBody>
          <a:bodyPr>
            <a:norm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1300" b="1" dirty="0">
              <a:latin typeface="Century Schoolbook" panose="02040604050505020304" pitchFamily="18" charset="0"/>
            </a:endParaRPr>
          </a:p>
          <a:p>
            <a:pPr marL="0" indent="0" algn="just">
              <a:buNone/>
            </a:pPr>
            <a:r>
              <a:rPr lang="en-ZA" sz="2000" b="0" i="0" dirty="0">
                <a:effectLst/>
                <a:latin typeface="Century Schoolbook" panose="02040604050505020304" pitchFamily="18" charset="0"/>
              </a:rPr>
              <a:t>This classification project successfully demonstrated the end-to-end development of a machine learning solution for categorizing news articles across multiple domains. Through data preprocessing, and model evaluation, we built a system capable of understanding and classifying textual content with meaningful accuracy. The integration of a </a:t>
            </a:r>
            <a:r>
              <a:rPr lang="en-ZA" sz="2000" b="0" i="0" dirty="0" err="1">
                <a:effectLst/>
                <a:latin typeface="Century Schoolbook" panose="02040604050505020304" pitchFamily="18" charset="0"/>
              </a:rPr>
              <a:t>Streamlit</a:t>
            </a:r>
            <a:r>
              <a:rPr lang="en-ZA" sz="2000" b="0" i="0" dirty="0">
                <a:effectLst/>
                <a:latin typeface="Century Schoolbook" panose="02040604050505020304" pitchFamily="18" charset="0"/>
              </a:rPr>
              <a:t> application further showcased the model’s real-world applicability, enabling interactive predictions and user engagement.</a:t>
            </a:r>
          </a:p>
          <a:p>
            <a:pPr marL="0" indent="0" algn="just">
              <a:buNone/>
            </a:pPr>
            <a:r>
              <a:rPr lang="en-ZA" sz="2000" b="0" i="0" dirty="0">
                <a:effectLst/>
                <a:latin typeface="Century Schoolbook" panose="02040604050505020304" pitchFamily="18" charset="0"/>
              </a:rPr>
              <a:t>Despite facing challenges such as restricted access to deployment tools on corporate devices and computational limitations, the project highlighted the importance of adaptability, collaboration, and iterative learning. </a:t>
            </a:r>
          </a:p>
          <a:p>
            <a:pPr marL="0" indent="0" algn="just">
              <a:buNone/>
            </a:pPr>
            <a:r>
              <a:rPr lang="en-ZA" sz="2000" b="0" i="0" dirty="0">
                <a:effectLst/>
                <a:latin typeface="Century Schoolbook" panose="02040604050505020304" pitchFamily="18" charset="0"/>
              </a:rPr>
              <a:t>Overall, this project not only strengthened our technical proficiency in natural language processing and machine learning but also emphasized the value of translating data-driven insights into accessible, user-friendly applications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2000" b="1" dirty="0">
              <a:latin typeface="Century Schoolbook" panose="02040604050505020304" pitchFamily="18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ZA" sz="2000" dirty="0">
              <a:latin typeface="Century Schoolbook" panose="020406040505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ZA" sz="2000" dirty="0">
              <a:latin typeface="Century Schoolbook" panose="02040604050505020304" pitchFamily="18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2000" dirty="0">
              <a:latin typeface="Century Schoolbook" panose="020406040505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1200" dirty="0">
              <a:latin typeface="Century Schoolbook" panose="02040604050505020304" pitchFamily="18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5E4FB5F-68D3-B2AF-0E93-E968DD814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1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687628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BCE8E6-F635-7499-91C0-083AB0D703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4517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BCE8E6-F635-7499-91C0-083AB0D703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10C1B7-6E4E-3DEE-50C0-1CA3B14303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4360" y="411479"/>
            <a:ext cx="5486400" cy="3291840"/>
          </a:xfrm>
        </p:spPr>
        <p:txBody>
          <a:bodyPr vert="horz"/>
          <a:lstStyle/>
          <a:p>
            <a:r>
              <a:rPr lang="en-US" sz="3200" dirty="0">
                <a:solidFill>
                  <a:srgbClr val="0070C0"/>
                </a:solidFill>
                <a:latin typeface="Century Schoolbook" panose="02040604050505020304" pitchFamily="18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61132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820626-AA1D-C496-29C1-819748E44D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44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820626-AA1D-C496-29C1-819748E44D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30BF65-C84B-45C3-72CA-AFDA68851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957" y="429945"/>
            <a:ext cx="6787747" cy="484455"/>
          </a:xfrm>
        </p:spPr>
        <p:txBody>
          <a:bodyPr vert="horz" anchor="t"/>
          <a:lstStyle/>
          <a:p>
            <a:r>
              <a:rPr lang="en-US" sz="2800" spc="100" dirty="0">
                <a:solidFill>
                  <a:srgbClr val="0070C0"/>
                </a:solidFill>
                <a:latin typeface="Century Schoolbook" panose="02040604050505020304" pitchFamily="18" charset="0"/>
              </a:rPr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8EBC2C-6DD7-5003-38EB-40753046FE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3956" y="1162557"/>
            <a:ext cx="6380775" cy="4615673"/>
          </a:xfrm>
          <a:solidFill>
            <a:schemeClr val="tx1"/>
          </a:solidFill>
        </p:spPr>
        <p:txBody>
          <a:bodyPr tIns="457200"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Project Objective and Scope of Work</a:t>
            </a:r>
          </a:p>
          <a:p>
            <a:pPr marL="457200" indent="-457200">
              <a:buFont typeface="+mj-lt"/>
              <a:buAutoNum type="arabicPeriod"/>
            </a:pP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Dataset &amp; Preprocessing</a:t>
            </a:r>
          </a:p>
          <a:p>
            <a:pPr marL="457200" indent="-457200">
              <a:buFont typeface="+mj-lt"/>
              <a:buAutoNum type="arabicPeriod"/>
            </a:pP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Model Development</a:t>
            </a:r>
          </a:p>
          <a:p>
            <a:pPr marL="457200" indent="-457200">
              <a:buFont typeface="+mj-lt"/>
              <a:buAutoNum type="arabicPeriod"/>
            </a:pPr>
            <a:r>
              <a:rPr lang="en-ZA" sz="1800" dirty="0" err="1">
                <a:solidFill>
                  <a:schemeClr val="bg1"/>
                </a:solidFill>
                <a:latin typeface="Century Schoolbook" panose="02040604050505020304" pitchFamily="18" charset="0"/>
              </a:rPr>
              <a:t>Streamlit</a:t>
            </a: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 App</a:t>
            </a:r>
          </a:p>
          <a:p>
            <a:pPr marL="457200" indent="-457200">
              <a:buFont typeface="+mj-lt"/>
              <a:buAutoNum type="arabicPeriod"/>
            </a:pP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GitHub &amp; Environment Setup</a:t>
            </a:r>
          </a:p>
          <a:p>
            <a:pPr marL="457200" indent="-457200">
              <a:buFont typeface="+mj-lt"/>
              <a:buAutoNum type="arabicPeriod"/>
            </a:pP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Project Management Tools</a:t>
            </a:r>
          </a:p>
          <a:p>
            <a:pPr marL="457200" indent="-457200">
              <a:buFont typeface="+mj-lt"/>
              <a:buAutoNum type="arabicPeriod"/>
            </a:pP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Conclusion</a:t>
            </a:r>
          </a:p>
          <a:p>
            <a:endParaRPr lang="en-US" sz="1800" b="1" dirty="0">
              <a:latin typeface="Century Schoolbook" panose="02040604050505020304" pitchFamily="18" charset="0"/>
            </a:endParaRPr>
          </a:p>
          <a:p>
            <a:endParaRPr lang="en-US" sz="1800" dirty="0">
              <a:latin typeface="Century Schoolbook" panose="02040604050505020304" pitchFamily="18" charset="0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7031EB7-2FE0-ADE9-104B-28EDA53B2FA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466857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A8FE4C0-6AF0-10BE-3090-E5F5E02AE8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3558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8FE4C0-6AF0-10BE-3090-E5F5E02AE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C78CEA4F-D72A-C069-6A51-328B103CA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7E473402-19FD-A5B0-5CB6-E5F3926D3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>
                <a:latin typeface="Century Schoolbook" panose="02040604050505020304" pitchFamily="18" charset="0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79D1CAD-2EA2-9376-7B64-0C3AC590F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>
                <a:latin typeface="Century Schoolbook" panose="02040604050505020304" pitchFamily="18" charset="0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16F8906-918C-BE0B-A4AB-6A1D48150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>
                <a:latin typeface="Century Schoolbook" panose="02040604050505020304" pitchFamily="18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21BBFC22-5DB0-C2CD-C414-30F98B134DC8}"/>
              </a:ext>
            </a:extLst>
          </p:cNvPr>
          <p:cNvSpPr txBox="1"/>
          <p:nvPr/>
        </p:nvSpPr>
        <p:spPr>
          <a:xfrm>
            <a:off x="838200" y="5105139"/>
            <a:ext cx="4203334" cy="144655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Model Training</a:t>
            </a:r>
          </a:p>
          <a:p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Train multiple models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Logistic Regression</a:t>
            </a:r>
          </a:p>
          <a:p>
            <a:pPr marL="742950" lvl="3" indent="-285750">
              <a:buFont typeface="Arial" panose="020B0604020202020204" pitchFamily="34" charset="0"/>
              <a:buChar char="•"/>
            </a:pPr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Multinominal Naive Bayes</a:t>
            </a:r>
          </a:p>
          <a:p>
            <a:pPr marL="742950" lvl="3" indent="-285750">
              <a:buFont typeface="Arial" panose="020B0604020202020204" pitchFamily="34" charset="0"/>
              <a:buChar char="•"/>
            </a:pPr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Random Forest</a:t>
            </a:r>
          </a:p>
          <a:p>
            <a:pPr marL="742950" lvl="3" indent="-285750">
              <a:buFont typeface="Arial" panose="020B0604020202020204" pitchFamily="34" charset="0"/>
              <a:buChar char="•"/>
            </a:pPr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K-Nearest </a:t>
            </a:r>
            <a:r>
              <a:rPr lang="en-ZA" sz="1400" i="0" dirty="0" err="1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Neighbors</a:t>
            </a:r>
            <a:endParaRPr lang="en-ZA" sz="1400" dirty="0">
              <a:solidFill>
                <a:schemeClr val="bg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D6BF721-3AF9-EBAF-D099-BE564FD65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</p:spPr>
        <p:txBody>
          <a:bodyPr vert="horz" anchor="t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1. Project Objective and Scope of Work</a:t>
            </a:r>
          </a:p>
        </p:txBody>
      </p:sp>
      <p:pic>
        <p:nvPicPr>
          <p:cNvPr id="11" name="Graphic 10" descr="Document outline">
            <a:extLst>
              <a:ext uri="{FF2B5EF4-FFF2-40B4-BE49-F238E27FC236}">
                <a16:creationId xmlns:a16="http://schemas.microsoft.com/office/drawing/2014/main" id="{EEEF3A2F-47D2-F189-C091-7C60570146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2681" y="1256484"/>
            <a:ext cx="903396" cy="90339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4045BF4-C4E2-63E1-3F4A-5B9E6A7DEF2A}"/>
              </a:ext>
            </a:extLst>
          </p:cNvPr>
          <p:cNvSpPr txBox="1"/>
          <p:nvPr/>
        </p:nvSpPr>
        <p:spPr>
          <a:xfrm>
            <a:off x="870649" y="971856"/>
            <a:ext cx="16877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>
                <a:solidFill>
                  <a:srgbClr val="0070C0"/>
                </a:solidFill>
                <a:latin typeface="Century Schoolbook" panose="02040604050505020304" pitchFamily="18" charset="0"/>
              </a:rPr>
              <a:t>Objective</a:t>
            </a:r>
            <a:endParaRPr lang="en-ZA" b="1" dirty="0">
              <a:solidFill>
                <a:schemeClr val="bg1"/>
              </a:solidFill>
              <a:latin typeface="Century Schoolbook" panose="02040604050505020304" pitchFamily="18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F21618-AF16-88EA-5200-818856813B25}"/>
              </a:ext>
            </a:extLst>
          </p:cNvPr>
          <p:cNvCxnSpPr>
            <a:cxnSpLocks/>
          </p:cNvCxnSpPr>
          <p:nvPr/>
        </p:nvCxnSpPr>
        <p:spPr>
          <a:xfrm>
            <a:off x="1022681" y="2311696"/>
            <a:ext cx="10407319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12E51677-482A-FE0D-2EFB-EDC36EA7B7AB}"/>
              </a:ext>
            </a:extLst>
          </p:cNvPr>
          <p:cNvSpPr txBox="1"/>
          <p:nvPr/>
        </p:nvSpPr>
        <p:spPr>
          <a:xfrm>
            <a:off x="908098" y="2422256"/>
            <a:ext cx="4763127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Scope of Work</a:t>
            </a:r>
            <a:endParaRPr lang="en-ZA" b="1" dirty="0">
              <a:solidFill>
                <a:schemeClr val="bg1"/>
              </a:solidFill>
              <a:latin typeface="Century Schoolbook" panose="020406040505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b="1" dirty="0">
                <a:solidFill>
                  <a:schemeClr val="bg1"/>
                </a:solidFill>
                <a:latin typeface="Century Schoolbook" panose="02040604050505020304" pitchFamily="18" charset="0"/>
              </a:rPr>
              <a:t>Categorise articles into 5 domai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Busine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Technolog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Spor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Educ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Entertain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59ACF77-660F-2601-72AD-07EBC40AFFBC}"/>
              </a:ext>
            </a:extLst>
          </p:cNvPr>
          <p:cNvSpPr txBox="1"/>
          <p:nvPr/>
        </p:nvSpPr>
        <p:spPr>
          <a:xfrm>
            <a:off x="907674" y="4270169"/>
            <a:ext cx="43482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Workflow</a:t>
            </a:r>
          </a:p>
          <a:p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Data Loading and Preprocessing</a:t>
            </a:r>
          </a:p>
        </p:txBody>
      </p:sp>
      <p:pic>
        <p:nvPicPr>
          <p:cNvPr id="16" name="Graphic 15" descr="Database outline">
            <a:extLst>
              <a:ext uri="{FF2B5EF4-FFF2-40B4-BE49-F238E27FC236}">
                <a16:creationId xmlns:a16="http://schemas.microsoft.com/office/drawing/2014/main" id="{95613F46-206D-5F3E-5F2C-F1E6BF277C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62337" y="4223142"/>
            <a:ext cx="869004" cy="869004"/>
          </a:xfrm>
          <a:prstGeom prst="rect">
            <a:avLst/>
          </a:prstGeom>
        </p:spPr>
      </p:pic>
      <p:pic>
        <p:nvPicPr>
          <p:cNvPr id="17" name="Graphic 16" descr="Illustrator with solid fill">
            <a:extLst>
              <a:ext uri="{FF2B5EF4-FFF2-40B4-BE49-F238E27FC236}">
                <a16:creationId xmlns:a16="http://schemas.microsoft.com/office/drawing/2014/main" id="{0A9B2CFC-F37C-E37C-3062-17572EC39F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518603" y="5568391"/>
            <a:ext cx="446307" cy="446307"/>
          </a:xfrm>
          <a:prstGeom prst="rect">
            <a:avLst/>
          </a:prstGeom>
        </p:spPr>
      </p:pic>
      <p:pic>
        <p:nvPicPr>
          <p:cNvPr id="18" name="Graphic 17" descr="Teacher outline">
            <a:extLst>
              <a:ext uri="{FF2B5EF4-FFF2-40B4-BE49-F238E27FC236}">
                <a16:creationId xmlns:a16="http://schemas.microsoft.com/office/drawing/2014/main" id="{6FE7CD61-E92C-21FF-8910-4773AB68DAA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949229" y="5527369"/>
            <a:ext cx="528352" cy="528352"/>
          </a:xfrm>
          <a:prstGeom prst="rect">
            <a:avLst/>
          </a:prstGeom>
        </p:spPr>
      </p:pic>
      <p:pic>
        <p:nvPicPr>
          <p:cNvPr id="23" name="Graphic 22" descr="Drawing Figure outline">
            <a:extLst>
              <a:ext uri="{FF2B5EF4-FFF2-40B4-BE49-F238E27FC236}">
                <a16:creationId xmlns:a16="http://schemas.microsoft.com/office/drawing/2014/main" id="{81E096B2-F691-8FAC-5846-1A2B51E0BF6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005932" y="5533120"/>
            <a:ext cx="446308" cy="44630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89B911FC-F7AD-C1A7-7E1A-60E2A60995B8}"/>
              </a:ext>
            </a:extLst>
          </p:cNvPr>
          <p:cNvSpPr txBox="1"/>
          <p:nvPr/>
        </p:nvSpPr>
        <p:spPr>
          <a:xfrm>
            <a:off x="7081736" y="3217616"/>
            <a:ext cx="434826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Evaluation</a:t>
            </a:r>
          </a:p>
          <a:p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Evaluate performance using precision, recall, and F1-score.</a:t>
            </a:r>
          </a:p>
        </p:txBody>
      </p:sp>
      <p:pic>
        <p:nvPicPr>
          <p:cNvPr id="25" name="Graphic 24" descr="Bar chart with solid fill">
            <a:extLst>
              <a:ext uri="{FF2B5EF4-FFF2-40B4-BE49-F238E27FC236}">
                <a16:creationId xmlns:a16="http://schemas.microsoft.com/office/drawing/2014/main" id="{B6344FF5-9564-8F3E-064F-7E5C917BD8D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328560" y="4018113"/>
            <a:ext cx="380722" cy="380722"/>
          </a:xfrm>
          <a:prstGeom prst="rect">
            <a:avLst/>
          </a:prstGeom>
        </p:spPr>
      </p:pic>
      <p:pic>
        <p:nvPicPr>
          <p:cNvPr id="26" name="Graphic 25" descr="Venn diagram outline">
            <a:extLst>
              <a:ext uri="{FF2B5EF4-FFF2-40B4-BE49-F238E27FC236}">
                <a16:creationId xmlns:a16="http://schemas.microsoft.com/office/drawing/2014/main" id="{145F8025-2552-DB7D-AC53-7364CDA1780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796640" y="3965203"/>
            <a:ext cx="486541" cy="486541"/>
          </a:xfrm>
          <a:prstGeom prst="rect">
            <a:avLst/>
          </a:prstGeom>
        </p:spPr>
      </p:pic>
      <p:pic>
        <p:nvPicPr>
          <p:cNvPr id="27" name="Graphic 26" descr="Maze with solid fill">
            <a:extLst>
              <a:ext uri="{FF2B5EF4-FFF2-40B4-BE49-F238E27FC236}">
                <a16:creationId xmlns:a16="http://schemas.microsoft.com/office/drawing/2014/main" id="{8155F58A-D2EE-35CE-4311-600E9CA90B9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424186" y="3907928"/>
            <a:ext cx="544094" cy="544094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26B382A3-A25D-D56D-D912-FCE87A370E4C}"/>
              </a:ext>
            </a:extLst>
          </p:cNvPr>
          <p:cNvSpPr txBox="1"/>
          <p:nvPr/>
        </p:nvSpPr>
        <p:spPr>
          <a:xfrm>
            <a:off x="7081736" y="4775881"/>
            <a:ext cx="434826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Deployment</a:t>
            </a:r>
          </a:p>
          <a:p>
            <a:pPr marL="0" lvl="1"/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Build a </a:t>
            </a:r>
            <a:r>
              <a:rPr lang="en-ZA" sz="1400" i="0" dirty="0" err="1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Streamlit</a:t>
            </a:r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 web application to allow users to input articles and receive category predictions.  Host the app online to demonstrate real-world utility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3DE3A8C-046E-FEE3-F4B7-1EA400779F66}"/>
              </a:ext>
            </a:extLst>
          </p:cNvPr>
          <p:cNvSpPr txBox="1"/>
          <p:nvPr/>
        </p:nvSpPr>
        <p:spPr>
          <a:xfrm>
            <a:off x="1926077" y="1357197"/>
            <a:ext cx="966444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The goal is to develop a classification model that can accurately categorize news articles into domains such as Business, Technology, Sports, Education, and Entertainment. The final model is deployed in a user-friendly </a:t>
            </a:r>
            <a:r>
              <a:rPr lang="en-ZA" sz="1400" dirty="0" err="1">
                <a:solidFill>
                  <a:schemeClr val="bg1"/>
                </a:solidFill>
                <a:latin typeface="Century Schoolbook" panose="02040604050505020304" pitchFamily="18" charset="0"/>
              </a:rPr>
              <a:t>Streamlit</a:t>
            </a: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 app, allowing real-time predictions on new articles.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E1829F61-587E-67A2-B55E-E5F97F5BD8A5}"/>
              </a:ext>
            </a:extLst>
          </p:cNvPr>
          <p:cNvPicPr>
            <a:picLocks noChangeAspect="1"/>
          </p:cNvPicPr>
          <p:nvPr/>
        </p:nvPicPr>
        <p:blipFill>
          <a:blip r:embed="rId22"/>
          <a:srcRect b="19198"/>
          <a:stretch/>
        </p:blipFill>
        <p:spPr>
          <a:xfrm>
            <a:off x="8969171" y="4494195"/>
            <a:ext cx="723716" cy="584775"/>
          </a:xfrm>
          <a:prstGeom prst="rect">
            <a:avLst/>
          </a:prstGeom>
        </p:spPr>
      </p:pic>
      <p:pic>
        <p:nvPicPr>
          <p:cNvPr id="32" name="Graphic 31" descr="Bar chart with solid fill">
            <a:extLst>
              <a:ext uri="{FF2B5EF4-FFF2-40B4-BE49-F238E27FC236}">
                <a16:creationId xmlns:a16="http://schemas.microsoft.com/office/drawing/2014/main" id="{009E0680-2858-786F-A15D-915FD26CBAD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480960" y="4170513"/>
            <a:ext cx="380722" cy="380722"/>
          </a:xfrm>
          <a:prstGeom prst="rect">
            <a:avLst/>
          </a:prstGeom>
        </p:spPr>
      </p:pic>
      <p:pic>
        <p:nvPicPr>
          <p:cNvPr id="33" name="Graphic 32" descr="Venn diagram outline">
            <a:extLst>
              <a:ext uri="{FF2B5EF4-FFF2-40B4-BE49-F238E27FC236}">
                <a16:creationId xmlns:a16="http://schemas.microsoft.com/office/drawing/2014/main" id="{CCB085A8-C72A-6D21-C9E0-1314F4736BF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949040" y="4117603"/>
            <a:ext cx="486541" cy="486541"/>
          </a:xfrm>
          <a:prstGeom prst="rect">
            <a:avLst/>
          </a:prstGeom>
        </p:spPr>
      </p:pic>
      <p:pic>
        <p:nvPicPr>
          <p:cNvPr id="34" name="Graphic 33" descr="Maze with solid fill">
            <a:extLst>
              <a:ext uri="{FF2B5EF4-FFF2-40B4-BE49-F238E27FC236}">
                <a16:creationId xmlns:a16="http://schemas.microsoft.com/office/drawing/2014/main" id="{B34CBDE1-BC1D-A170-FFE8-B3C2D5AA6F7C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576586" y="4060328"/>
            <a:ext cx="544094" cy="544094"/>
          </a:xfrm>
          <a:prstGeom prst="rect">
            <a:avLst/>
          </a:prstGeom>
        </p:spPr>
      </p:pic>
      <p:pic>
        <p:nvPicPr>
          <p:cNvPr id="35" name="Graphic 34" descr="Database outline">
            <a:extLst>
              <a:ext uri="{FF2B5EF4-FFF2-40B4-BE49-F238E27FC236}">
                <a16:creationId xmlns:a16="http://schemas.microsoft.com/office/drawing/2014/main" id="{1A727A96-DF9A-E28E-7F63-DDA8C5F49D1F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770345" y="4442842"/>
            <a:ext cx="528352" cy="528352"/>
          </a:xfrm>
          <a:prstGeom prst="rect">
            <a:avLst/>
          </a:prstGeom>
        </p:spPr>
      </p:pic>
      <p:pic>
        <p:nvPicPr>
          <p:cNvPr id="36" name="Graphic 35" descr="Illustrator with solid fill">
            <a:extLst>
              <a:ext uri="{FF2B5EF4-FFF2-40B4-BE49-F238E27FC236}">
                <a16:creationId xmlns:a16="http://schemas.microsoft.com/office/drawing/2014/main" id="{6C4C57AD-2554-6CFA-AC34-CBB4C6EEB6A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4671003" y="5720791"/>
            <a:ext cx="446307" cy="446307"/>
          </a:xfrm>
          <a:prstGeom prst="rect">
            <a:avLst/>
          </a:prstGeom>
        </p:spPr>
      </p:pic>
      <p:pic>
        <p:nvPicPr>
          <p:cNvPr id="37" name="Graphic 36" descr="Teacher outline">
            <a:extLst>
              <a:ext uri="{FF2B5EF4-FFF2-40B4-BE49-F238E27FC236}">
                <a16:creationId xmlns:a16="http://schemas.microsoft.com/office/drawing/2014/main" id="{97FC0B78-9107-D26E-9B34-0F369397A0F8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101629" y="5679769"/>
            <a:ext cx="528352" cy="528352"/>
          </a:xfrm>
          <a:prstGeom prst="rect">
            <a:avLst/>
          </a:prstGeom>
        </p:spPr>
      </p:pic>
      <p:pic>
        <p:nvPicPr>
          <p:cNvPr id="38" name="Graphic 37" descr="Drawing Figure outline">
            <a:extLst>
              <a:ext uri="{FF2B5EF4-FFF2-40B4-BE49-F238E27FC236}">
                <a16:creationId xmlns:a16="http://schemas.microsoft.com/office/drawing/2014/main" id="{DCBFF820-F94D-EC23-B255-C516AF2539E3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5158332" y="5685520"/>
            <a:ext cx="446308" cy="446308"/>
          </a:xfrm>
          <a:prstGeom prst="rect">
            <a:avLst/>
          </a:prstGeom>
        </p:spPr>
      </p:pic>
      <p:sp>
        <p:nvSpPr>
          <p:cNvPr id="40" name="Slide Number Placeholder 39">
            <a:extLst>
              <a:ext uri="{FF2B5EF4-FFF2-40B4-BE49-F238E27FC236}">
                <a16:creationId xmlns:a16="http://schemas.microsoft.com/office/drawing/2014/main" id="{ED78A8F9-AAFA-541A-A5F1-CC8E4589B1E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3</a:t>
            </a:fld>
            <a:endParaRPr lang="en-US" dirty="0">
              <a:latin typeface="+mn-lt"/>
            </a:endParaRPr>
          </a:p>
        </p:txBody>
      </p:sp>
      <p:pic>
        <p:nvPicPr>
          <p:cNvPr id="44" name="Graphic 43" descr="Arrow circle outline">
            <a:extLst>
              <a:ext uri="{FF2B5EF4-FFF2-40B4-BE49-F238E27FC236}">
                <a16:creationId xmlns:a16="http://schemas.microsoft.com/office/drawing/2014/main" id="{CCC3AF0E-44EC-7772-CEDB-168EBB5F7E45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4261011" y="4435281"/>
            <a:ext cx="538264" cy="538264"/>
          </a:xfrm>
          <a:prstGeom prst="rect">
            <a:avLst/>
          </a:prstGeom>
        </p:spPr>
      </p:pic>
      <p:pic>
        <p:nvPicPr>
          <p:cNvPr id="46" name="Graphic 45" descr="Inbox outline">
            <a:extLst>
              <a:ext uri="{FF2B5EF4-FFF2-40B4-BE49-F238E27FC236}">
                <a16:creationId xmlns:a16="http://schemas.microsoft.com/office/drawing/2014/main" id="{63476902-5379-011E-B56E-05C8EC8F59D1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4740590" y="4335965"/>
            <a:ext cx="584776" cy="584776"/>
          </a:xfrm>
          <a:prstGeom prst="rect">
            <a:avLst/>
          </a:prstGeom>
        </p:spPr>
      </p:pic>
      <p:pic>
        <p:nvPicPr>
          <p:cNvPr id="48" name="Graphic 47" descr="Newspaper outline">
            <a:extLst>
              <a:ext uri="{FF2B5EF4-FFF2-40B4-BE49-F238E27FC236}">
                <a16:creationId xmlns:a16="http://schemas.microsoft.com/office/drawing/2014/main" id="{2999DA5F-9433-7439-24EF-87D92972BDF9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3088463" y="3181146"/>
            <a:ext cx="693906" cy="69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3120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3F6A769-BD40-1A63-9269-857E8549C3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55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F6A769-BD40-1A63-9269-857E8549C3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F5477141-E46B-575D-3851-5021C286D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</p:spPr>
        <p:txBody>
          <a:bodyPr vert="horz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2. Dataset &amp; Preprocessing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7B59601F-98C6-24C8-AA96-91ABAFA4911A}"/>
              </a:ext>
            </a:extLst>
          </p:cNvPr>
          <p:cNvSpPr txBox="1">
            <a:spLocks/>
          </p:cNvSpPr>
          <p:nvPr/>
        </p:nvSpPr>
        <p:spPr>
          <a:xfrm>
            <a:off x="838200" y="943584"/>
            <a:ext cx="10515600" cy="5549290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1400" b="1" dirty="0">
                <a:latin typeface="Century Schoolbook" panose="02040604050505020304" pitchFamily="18" charset="0"/>
              </a:rPr>
              <a:t>Dataset:  </a:t>
            </a:r>
          </a:p>
          <a:p>
            <a:pPr lvl="1"/>
            <a:r>
              <a:rPr lang="en-ZA" sz="1400" dirty="0">
                <a:latin typeface="Century Schoolbook" panose="02040604050505020304" pitchFamily="18" charset="0"/>
              </a:rPr>
              <a:t>Training Dataset (train.csv) is rich in business and economic news, covering a wide range of topics:</a:t>
            </a:r>
          </a:p>
          <a:p>
            <a:pPr lvl="2"/>
            <a:r>
              <a:rPr lang="en-ZA" sz="1400" dirty="0">
                <a:latin typeface="Century Schoolbook" panose="02040604050505020304" pitchFamily="18" charset="0"/>
              </a:rPr>
              <a:t>Regulatory &amp; Policy Updates RBI revised KYC norms for politically-exposed persons. Government issued advisories on AI-generated deepfakes. Import restrictions were placed on laptops and PCs to boost domestic manufacturing.</a:t>
            </a:r>
          </a:p>
          <a:p>
            <a:pPr lvl="2"/>
            <a:r>
              <a:rPr lang="en-ZA" sz="1400" dirty="0">
                <a:latin typeface="Century Schoolbook" panose="02040604050505020304" pitchFamily="18" charset="0"/>
              </a:rPr>
              <a:t>Corporate &amp; Market Performance LIC and NDTV reported contrasting quarterly results. IPOs like </a:t>
            </a:r>
            <a:r>
              <a:rPr lang="en-ZA" sz="1400" dirty="0" err="1">
                <a:latin typeface="Century Schoolbook" panose="02040604050505020304" pitchFamily="18" charset="0"/>
              </a:rPr>
              <a:t>Netweb</a:t>
            </a:r>
            <a:r>
              <a:rPr lang="en-ZA" sz="1400" dirty="0">
                <a:latin typeface="Century Schoolbook" panose="02040604050505020304" pitchFamily="18" charset="0"/>
              </a:rPr>
              <a:t> Technologies and market movements in Sensex/Nifty were tracked. Adani Green and TotalEnergies formed a renewable energy joint venture.</a:t>
            </a:r>
          </a:p>
          <a:p>
            <a:pPr lvl="2"/>
            <a:r>
              <a:rPr lang="en-ZA" sz="1400" dirty="0">
                <a:latin typeface="Century Schoolbook" panose="02040604050505020304" pitchFamily="18" charset="0"/>
              </a:rPr>
              <a:t>Economic Indicators India’s current account deficit dropped to 1% of GDP. Borrowing costs for states hit a fiscal high. The rupee hit an all-time low against the US dollar.</a:t>
            </a:r>
          </a:p>
          <a:p>
            <a:pPr lvl="2"/>
            <a:r>
              <a:rPr lang="en-ZA" sz="1400" dirty="0">
                <a:latin typeface="Century Schoolbook" panose="02040604050505020304" pitchFamily="18" charset="0"/>
              </a:rPr>
              <a:t>Strategic Business Moves Air India’s fleet expansion with A350 aircraft. ITC’s focus on FMCG growth. UIDAI appointed a new chairperson.</a:t>
            </a:r>
          </a:p>
          <a:p>
            <a:pPr lvl="2"/>
            <a:r>
              <a:rPr lang="en-ZA" sz="1400" dirty="0">
                <a:latin typeface="Century Schoolbook" panose="02040604050505020304" pitchFamily="18" charset="0"/>
              </a:rPr>
              <a:t>Global &amp; Trade Context India’s exports and imports declined, widening the trade deficit. Electricity demand for air conditioning is projected to rise 9x by 2050.</a:t>
            </a:r>
          </a:p>
          <a:p>
            <a:pPr lvl="1"/>
            <a:r>
              <a:rPr lang="en-ZA" sz="1400" dirty="0">
                <a:latin typeface="Century Schoolbook" panose="02040604050505020304" pitchFamily="18" charset="0"/>
              </a:rPr>
              <a:t>Test Dataset (test.csv) spans multiple domains—business, sports, education, technology, and entertainment:</a:t>
            </a:r>
          </a:p>
          <a:p>
            <a:pPr lvl="2"/>
            <a:r>
              <a:rPr lang="en-ZA" sz="1400" dirty="0">
                <a:latin typeface="Century Schoolbook" panose="02040604050505020304" pitchFamily="18" charset="0"/>
              </a:rPr>
              <a:t>Business GST Council decisions on tax exemptions and rate changes. Toyota’s adoption of Tesla-style </a:t>
            </a:r>
            <a:r>
              <a:rPr lang="en-ZA" sz="1400" dirty="0" err="1">
                <a:latin typeface="Century Schoolbook" panose="02040604050505020304" pitchFamily="18" charset="0"/>
              </a:rPr>
              <a:t>gigacasting</a:t>
            </a:r>
            <a:r>
              <a:rPr lang="en-ZA" sz="1400" dirty="0">
                <a:latin typeface="Century Schoolbook" panose="02040604050505020304" pitchFamily="18" charset="0"/>
              </a:rPr>
              <a:t>. Nayara Energy’s export drop due to domestic demand. OYO launched a premium brand “Palette”.</a:t>
            </a:r>
          </a:p>
          <a:p>
            <a:pPr lvl="2"/>
            <a:r>
              <a:rPr lang="en-ZA" sz="1400" dirty="0">
                <a:latin typeface="Century Schoolbook" panose="02040604050505020304" pitchFamily="18" charset="0"/>
              </a:rPr>
              <a:t>Sports Cristiano Ronaldo’s debut for Al </a:t>
            </a:r>
            <a:r>
              <a:rPr lang="en-ZA" sz="1400" dirty="0" err="1">
                <a:latin typeface="Century Schoolbook" panose="02040604050505020304" pitchFamily="18" charset="0"/>
              </a:rPr>
              <a:t>Nassr</a:t>
            </a:r>
            <a:r>
              <a:rPr lang="en-ZA" sz="1400" dirty="0">
                <a:latin typeface="Century Schoolbook" panose="02040604050505020304" pitchFamily="18" charset="0"/>
              </a:rPr>
              <a:t>. Rafael Nadal’s injury update. Controversies in women’s boxing and hockey. David Warner ruled out of India Tests.</a:t>
            </a:r>
          </a:p>
          <a:p>
            <a:pPr lvl="2"/>
            <a:r>
              <a:rPr lang="en-ZA" sz="1400" dirty="0">
                <a:latin typeface="Century Schoolbook" panose="02040604050505020304" pitchFamily="18" charset="0"/>
              </a:rPr>
              <a:t>Education Updates on NEET, EAMCET, IGNOU, and FMGE. UGC launched a WhatsApp channel for real-time updates. Approval of 50 new medical colleges.</a:t>
            </a:r>
          </a:p>
          <a:p>
            <a:pPr lvl="2"/>
            <a:r>
              <a:rPr lang="en-ZA" sz="1400" dirty="0">
                <a:latin typeface="Century Schoolbook" panose="02040604050505020304" pitchFamily="18" charset="0"/>
              </a:rPr>
              <a:t>Technology WhatsApp added HD photo sharing and video controls. Meta explored monetization strategies. Apple Watch faced a potential ban. ISRO’s Aditya L1 mission reached the Lagrange point.</a:t>
            </a:r>
          </a:p>
          <a:p>
            <a:pPr lvl="2"/>
            <a:r>
              <a:rPr lang="en-ZA" sz="1400" dirty="0">
                <a:latin typeface="Century Schoolbook" panose="02040604050505020304" pitchFamily="18" charset="0"/>
              </a:rPr>
              <a:t>Entertainment Tanuja’s hospitalization and Ira Khan’s unique wedding. Karan </a:t>
            </a:r>
            <a:r>
              <a:rPr lang="en-ZA" sz="1400" dirty="0" err="1">
                <a:latin typeface="Century Schoolbook" panose="02040604050505020304" pitchFamily="18" charset="0"/>
              </a:rPr>
              <a:t>Johar</a:t>
            </a:r>
            <a:r>
              <a:rPr lang="en-ZA" sz="1400" dirty="0">
                <a:latin typeface="Century Schoolbook" panose="02040604050505020304" pitchFamily="18" charset="0"/>
              </a:rPr>
              <a:t> and Shahid Kapoor made headlines. </a:t>
            </a:r>
            <a:r>
              <a:rPr lang="en-ZA" sz="1400" dirty="0" err="1">
                <a:latin typeface="Century Schoolbook" panose="02040604050505020304" pitchFamily="18" charset="0"/>
              </a:rPr>
              <a:t>Salaar</a:t>
            </a:r>
            <a:r>
              <a:rPr lang="en-ZA" sz="1400" dirty="0">
                <a:latin typeface="Century Schoolbook" panose="02040604050505020304" pitchFamily="18" charset="0"/>
              </a:rPr>
              <a:t> vs </a:t>
            </a:r>
            <a:r>
              <a:rPr lang="en-ZA" sz="1400" dirty="0" err="1">
                <a:latin typeface="Century Schoolbook" panose="02040604050505020304" pitchFamily="18" charset="0"/>
              </a:rPr>
              <a:t>Dunki</a:t>
            </a:r>
            <a:r>
              <a:rPr lang="en-ZA" sz="1400" dirty="0">
                <a:latin typeface="Century Schoolbook" panose="02040604050505020304" pitchFamily="18" charset="0"/>
              </a:rPr>
              <a:t> box office rivalry.</a:t>
            </a:r>
          </a:p>
          <a:p>
            <a:pPr lvl="1"/>
            <a:endParaRPr lang="en-ZA" sz="1400" dirty="0">
              <a:latin typeface="Century Schoolbook" panose="02040604050505020304" pitchFamily="18" charset="0"/>
            </a:endParaRPr>
          </a:p>
          <a:p>
            <a:r>
              <a:rPr lang="en-ZA" sz="1400" b="1" dirty="0">
                <a:latin typeface="Century Schoolbook" panose="02040604050505020304" pitchFamily="18" charset="0"/>
              </a:rPr>
              <a:t>What These Datasets Tell Us </a:t>
            </a:r>
          </a:p>
          <a:p>
            <a:pPr lvl="1"/>
            <a:r>
              <a:rPr lang="en-ZA" sz="1400" dirty="0">
                <a:latin typeface="Century Schoolbook" panose="02040604050505020304" pitchFamily="18" charset="0"/>
              </a:rPr>
              <a:t>Train Dataset is focused on structured, finance-heavy content, ideal for training a model to classify business and economic news. Test Dataset is broader and more diverse, useful for evaluating how well a model generalizes across multiple domains. Together, they provide </a:t>
            </a:r>
            <a:r>
              <a:rPr lang="en-ZA" sz="1200" dirty="0">
                <a:latin typeface="Century Schoolbook" panose="02040604050505020304" pitchFamily="18" charset="0"/>
              </a:rPr>
              <a:t>a robust foundation for building and testing a news classification model that can handle both domain-specific and general news content.</a:t>
            </a:r>
          </a:p>
          <a:p>
            <a:endParaRPr lang="en-ZA" sz="1100" dirty="0">
              <a:latin typeface="Century Schoolbook" panose="02040604050505020304" pitchFamily="18" charset="0"/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26239CF4-D5A6-B782-5DCB-657963205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4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884842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3F6A769-BD40-1A63-9269-857E8549C3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F6A769-BD40-1A63-9269-857E8549C3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F5477141-E46B-575D-3851-5021C286D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</p:spPr>
        <p:txBody>
          <a:bodyPr vert="horz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2. Dataset &amp; Preprocessing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7B59601F-98C6-24C8-AA96-91ABAFA4911A}"/>
              </a:ext>
            </a:extLst>
          </p:cNvPr>
          <p:cNvSpPr txBox="1">
            <a:spLocks/>
          </p:cNvSpPr>
          <p:nvPr/>
        </p:nvSpPr>
        <p:spPr>
          <a:xfrm>
            <a:off x="838200" y="943584"/>
            <a:ext cx="11218816" cy="5549290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2425" indent="-352425">
              <a:lnSpc>
                <a:spcPct val="100000"/>
              </a:lnSpc>
              <a:spcBef>
                <a:spcPts val="0"/>
              </a:spcBef>
            </a:pPr>
            <a:r>
              <a:rPr lang="en-ZA" sz="1400" b="1" dirty="0">
                <a:latin typeface="Century Schoolbook" panose="02040604050505020304" pitchFamily="18" charset="0"/>
              </a:rPr>
              <a:t>Training Dataset 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is heavily focused on business and economic news, offering a rich variety of topics:</a:t>
            </a:r>
          </a:p>
          <a:p>
            <a:pPr marL="809625" lvl="2" indent="-352425">
              <a:lnSpc>
                <a:spcPct val="100000"/>
              </a:lnSpc>
              <a:spcBef>
                <a:spcPts val="0"/>
              </a:spcBef>
            </a:pPr>
            <a:r>
              <a:rPr lang="en-ZA" sz="1400" b="1" i="0" dirty="0">
                <a:effectLst/>
                <a:latin typeface="Century Schoolbook" panose="02040604050505020304" pitchFamily="18" charset="0"/>
              </a:rPr>
              <a:t>Regulatory &amp; Policy Updates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: Covers changes in KYC norms, AI deepfake advisories, and import restrictions to support domestic manufacturing.</a:t>
            </a:r>
          </a:p>
          <a:p>
            <a:pPr marL="809625" lvl="2" indent="-352425">
              <a:lnSpc>
                <a:spcPct val="100000"/>
              </a:lnSpc>
              <a:spcBef>
                <a:spcPts val="0"/>
              </a:spcBef>
            </a:pPr>
            <a:r>
              <a:rPr lang="en-ZA" sz="1400" b="1" i="0" dirty="0">
                <a:effectLst/>
                <a:latin typeface="Century Schoolbook" panose="02040604050505020304" pitchFamily="18" charset="0"/>
              </a:rPr>
              <a:t>Corporate &amp; Market Performance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: Tracks quarterly results, IPO activity, and strategic partnerships like Adani Green with TotalEnergies.</a:t>
            </a:r>
          </a:p>
          <a:p>
            <a:pPr marL="809625" lvl="2" indent="-352425">
              <a:lnSpc>
                <a:spcPct val="100000"/>
              </a:lnSpc>
              <a:spcBef>
                <a:spcPts val="0"/>
              </a:spcBef>
            </a:pPr>
            <a:r>
              <a:rPr lang="en-ZA" sz="1400" b="1" i="0" dirty="0">
                <a:effectLst/>
                <a:latin typeface="Century Schoolbook" panose="02040604050505020304" pitchFamily="18" charset="0"/>
              </a:rPr>
              <a:t>Economic Indicators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: Highlights macroeconomic trends such as the current account deficit, borrowing costs, and currency performance.</a:t>
            </a:r>
          </a:p>
          <a:p>
            <a:pPr marL="809625" lvl="2" indent="-352425">
              <a:lnSpc>
                <a:spcPct val="100000"/>
              </a:lnSpc>
              <a:spcBef>
                <a:spcPts val="0"/>
              </a:spcBef>
            </a:pPr>
            <a:r>
              <a:rPr lang="en-ZA" sz="1400" b="1" i="0" dirty="0">
                <a:effectLst/>
                <a:latin typeface="Century Schoolbook" panose="02040604050505020304" pitchFamily="18" charset="0"/>
              </a:rPr>
              <a:t>Strategic Business Moves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: Includes corporate developments like Air India’s fleet expansion and leadership changes at UIDAI.</a:t>
            </a:r>
          </a:p>
          <a:p>
            <a:pPr marL="809625" lvl="2" indent="-352425">
              <a:lnSpc>
                <a:spcPct val="100000"/>
              </a:lnSpc>
              <a:spcBef>
                <a:spcPts val="0"/>
              </a:spcBef>
            </a:pPr>
            <a:r>
              <a:rPr lang="en-ZA" sz="1400" b="1" i="0" dirty="0">
                <a:effectLst/>
                <a:latin typeface="Century Schoolbook" panose="02040604050505020304" pitchFamily="18" charset="0"/>
              </a:rPr>
              <a:t>Global &amp; Trade Context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: Reflects international trade dynamics and long-term projections like rising electricity demand for cooling.</a:t>
            </a:r>
          </a:p>
          <a:p>
            <a:pPr marL="352425" indent="-352425" algn="l">
              <a:lnSpc>
                <a:spcPct val="100000"/>
              </a:lnSpc>
              <a:spcBef>
                <a:spcPts val="0"/>
              </a:spcBef>
            </a:pPr>
            <a:r>
              <a:rPr lang="en-ZA" sz="1400" b="1" i="0" dirty="0">
                <a:effectLst/>
                <a:latin typeface="Century Schoolbook" panose="02040604050505020304" pitchFamily="18" charset="0"/>
              </a:rPr>
              <a:t>Test Dataset 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spans a diverse range of domains, offering a broad evaluation base for the classification model:</a:t>
            </a:r>
          </a:p>
          <a:p>
            <a:pPr marL="809625" lvl="2" indent="-352425">
              <a:lnSpc>
                <a:spcPct val="100000"/>
              </a:lnSpc>
              <a:spcBef>
                <a:spcPts val="0"/>
              </a:spcBef>
            </a:pPr>
            <a:r>
              <a:rPr lang="en-ZA" sz="1400" b="1" i="0" dirty="0">
                <a:effectLst/>
                <a:latin typeface="Century Schoolbook" panose="02040604050505020304" pitchFamily="18" charset="0"/>
              </a:rPr>
              <a:t>Business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: Covers policy changes (e.g., GST exemptions), corporate strategies (e.g., Toyota’s </a:t>
            </a:r>
            <a:r>
              <a:rPr lang="en-ZA" sz="1400" b="0" i="0" dirty="0" err="1">
                <a:effectLst/>
                <a:latin typeface="Century Schoolbook" panose="02040604050505020304" pitchFamily="18" charset="0"/>
              </a:rPr>
              <a:t>gigacasting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), and market shifts (e.g., OYO’s new brand launch).</a:t>
            </a:r>
          </a:p>
          <a:p>
            <a:pPr marL="809625" lvl="2" indent="-352425">
              <a:lnSpc>
                <a:spcPct val="100000"/>
              </a:lnSpc>
              <a:spcBef>
                <a:spcPts val="0"/>
              </a:spcBef>
            </a:pPr>
            <a:r>
              <a:rPr lang="en-ZA" sz="1400" b="1" i="0" dirty="0">
                <a:effectLst/>
                <a:latin typeface="Century Schoolbook" panose="02040604050505020304" pitchFamily="18" charset="0"/>
              </a:rPr>
              <a:t>Sports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: Includes high-profile athlete updates (Cristiano Ronaldo, Rafael Nadal), controversies, and team changes.</a:t>
            </a:r>
          </a:p>
          <a:p>
            <a:pPr marL="809625" lvl="2" indent="-352425">
              <a:lnSpc>
                <a:spcPct val="100000"/>
              </a:lnSpc>
              <a:spcBef>
                <a:spcPts val="0"/>
              </a:spcBef>
            </a:pPr>
            <a:r>
              <a:rPr lang="en-ZA" sz="1400" b="1" i="0" dirty="0">
                <a:effectLst/>
                <a:latin typeface="Century Schoolbook" panose="02040604050505020304" pitchFamily="18" charset="0"/>
              </a:rPr>
              <a:t>Education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: Features exam updates (NEET, EAMCET), institutional developments (new medical colleges), and digital communication initiatives by UGC.</a:t>
            </a:r>
          </a:p>
          <a:p>
            <a:pPr marL="809625" lvl="2" indent="-352425">
              <a:lnSpc>
                <a:spcPct val="100000"/>
              </a:lnSpc>
              <a:spcBef>
                <a:spcPts val="0"/>
              </a:spcBef>
            </a:pPr>
            <a:r>
              <a:rPr lang="en-ZA" sz="1400" b="1" i="0" dirty="0">
                <a:effectLst/>
                <a:latin typeface="Century Schoolbook" panose="02040604050505020304" pitchFamily="18" charset="0"/>
              </a:rPr>
              <a:t>Technology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: Highlights product updates (WhatsApp, Apple Watch), platform strategies (Meta), and space achievements (ISRO’s Aditya L1).</a:t>
            </a:r>
          </a:p>
          <a:p>
            <a:pPr marL="809625" lvl="2" indent="-352425">
              <a:lnSpc>
                <a:spcPct val="100000"/>
              </a:lnSpc>
              <a:spcBef>
                <a:spcPts val="0"/>
              </a:spcBef>
            </a:pPr>
            <a:r>
              <a:rPr lang="en-ZA" sz="1400" b="1" i="0" dirty="0">
                <a:effectLst/>
                <a:latin typeface="Century Schoolbook" panose="02040604050505020304" pitchFamily="18" charset="0"/>
              </a:rPr>
              <a:t>Entertainment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: Reports on celebrity news, health updates, weddings, and box office rivalries.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ZA" sz="1400" dirty="0">
              <a:latin typeface="Century Schoolbook" panose="020406040505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ZA" sz="1400" b="1" dirty="0">
                <a:latin typeface="Century Schoolbook" panose="02040604050505020304" pitchFamily="18" charset="0"/>
              </a:rPr>
              <a:t>What These Datasets Tell Us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Train Dataset is focused on structured, finance-heavy content, ideal for training a model to classify business and economic news. Test Dataset is broader and more diverse, useful for evaluating how well a model generalizes across multiple domains. Together, they provide a robust foundation for building and testing a news classification model that can handle both domain-specific and general news content.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26239CF4-D5A6-B782-5DCB-657963205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5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24582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3F6A769-BD40-1A63-9269-857E8549C3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3090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F6A769-BD40-1A63-9269-857E8549C3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F5477141-E46B-575D-3851-5021C286D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</p:spPr>
        <p:txBody>
          <a:bodyPr vert="horz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3. Dataset &amp; Preprocessing</a:t>
            </a:r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5BD8B11C-9841-71C0-3C7C-BB07498B129F}"/>
              </a:ext>
            </a:extLst>
          </p:cNvPr>
          <p:cNvSpPr txBox="1">
            <a:spLocks/>
          </p:cNvSpPr>
          <p:nvPr/>
        </p:nvSpPr>
        <p:spPr>
          <a:xfrm>
            <a:off x="838200" y="943583"/>
            <a:ext cx="10515600" cy="5783787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400" dirty="0">
                <a:latin typeface="Century Schoolbook" panose="02040604050505020304" pitchFamily="18" charset="0"/>
              </a:rPr>
              <a:t>Preprocessing  in the context of text classification are the steps taken to clean and prepare raw text data before feeding it into a machine learning model. These steps help reduce noise, standardize the format, and improve the quality of features extracted from the text.  These included: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Lowercasing:  Converts all text to lowercase to ensure uniformity (e.g., "India" and "</a:t>
            </a:r>
            <a:r>
              <a:rPr lang="en-ZA" sz="1400" dirty="0" err="1">
                <a:latin typeface="Century Schoolbook" panose="02040604050505020304" pitchFamily="18" charset="0"/>
              </a:rPr>
              <a:t>india</a:t>
            </a:r>
            <a:r>
              <a:rPr lang="en-ZA" sz="1400" dirty="0">
                <a:latin typeface="Century Schoolbook" panose="02040604050505020304" pitchFamily="18" charset="0"/>
              </a:rPr>
              <a:t>" are treated the same).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Removing Punctuation and Special Characters:  Cleans out symbols like !, @, #, etc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Removing </a:t>
            </a:r>
            <a:r>
              <a:rPr lang="en-ZA" sz="1400" dirty="0" err="1">
                <a:latin typeface="Century Schoolbook" panose="02040604050505020304" pitchFamily="18" charset="0"/>
              </a:rPr>
              <a:t>Stopwords</a:t>
            </a:r>
            <a:r>
              <a:rPr lang="en-ZA" sz="1400" dirty="0">
                <a:latin typeface="Century Schoolbook" panose="02040604050505020304" pitchFamily="18" charset="0"/>
              </a:rPr>
              <a:t>: Eliminates common words like "the", "is", "and", which occur frequently but add little value for classification.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Tokenization: Splits text into individual words or tokens (e.g., "India wins match" → ["India", "wins", "match"]).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Lemmatization/Stemming: Reduces words to their base or root form (e.g., "running" → "run").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Whitespace Normalization: Removes extra spaces and ensures consistent spacing between words.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Invalid </a:t>
            </a:r>
            <a:r>
              <a:rPr lang="en-ZA" sz="1400" dirty="0" err="1">
                <a:latin typeface="Century Schoolbook" panose="02040604050505020304" pitchFamily="18" charset="0"/>
              </a:rPr>
              <a:t>urls</a:t>
            </a:r>
            <a:endParaRPr lang="en-ZA" sz="1400" dirty="0">
              <a:latin typeface="Century Schoolbook" panose="02040604050505020304" pitchFamily="18" charset="0"/>
            </a:endParaRP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Check and fix data types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Length filtering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Category Standardization: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Business: economy, market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Sports: cricket, football, tennis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Technology: tech, AI, privacy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Education: admissions, scholarships, policy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Entertainment: Bollywood, Hollywood, cinema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This mapping ensures a cleaner label space and enhances model generalization.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endParaRPr lang="en-ZA" sz="1400" dirty="0">
              <a:latin typeface="Century Schoolbook" panose="02040604050505020304" pitchFamily="18" charset="0"/>
            </a:endParaRPr>
          </a:p>
          <a:p>
            <a:pPr marL="0" lvl="1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These insights helped validate the relevance of features and guide model expectations</a:t>
            </a:r>
            <a:endParaRPr lang="en-ZA" sz="1400" dirty="0">
              <a:latin typeface="Century Schoolbook" panose="020406040505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7AB07E-E47B-0B57-1EEA-1752E4DE1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6</a:t>
            </a:fld>
            <a:endParaRPr lang="en-US" dirty="0"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B1F0B3A-8B92-FD59-92A3-0A06C2CB9B8C}"/>
              </a:ext>
            </a:extLst>
          </p:cNvPr>
          <p:cNvSpPr txBox="1"/>
          <p:nvPr/>
        </p:nvSpPr>
        <p:spPr>
          <a:xfrm>
            <a:off x="855980" y="6024443"/>
            <a:ext cx="1051559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170219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CCB015D-8B57-436C-3036-EA7D6C04A0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3695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CB015D-8B57-436C-3036-EA7D6C04A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ED3827A6-B6D5-98B5-D090-E998029F2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  <a:solidFill>
            <a:schemeClr val="tx1"/>
          </a:solidFill>
        </p:spPr>
        <p:txBody>
          <a:bodyPr vert="horz">
            <a:normAutofit/>
          </a:bodyPr>
          <a:lstStyle/>
          <a:p>
            <a:pPr algn="l"/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4. Model Development</a:t>
            </a:r>
            <a:r>
              <a:rPr lang="en-ZA" sz="1000" b="1" i="0" dirty="0">
                <a:solidFill>
                  <a:srgbClr val="0070C0"/>
                </a:solidFill>
                <a:effectLst/>
                <a:latin typeface="Century Schoolbook" panose="02040604050505020304" pitchFamily="18" charset="0"/>
              </a:rPr>
              <a:t>	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79A268B-DD57-E113-7841-329EF7935D76}"/>
              </a:ext>
            </a:extLst>
          </p:cNvPr>
          <p:cNvSpPr txBox="1">
            <a:spLocks/>
          </p:cNvSpPr>
          <p:nvPr/>
        </p:nvSpPr>
        <p:spPr>
          <a:xfrm>
            <a:off x="838200" y="1098841"/>
            <a:ext cx="10621538" cy="5233379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200" b="1" dirty="0">
                <a:latin typeface="Century Schoolbook" panose="02040604050505020304" pitchFamily="18" charset="0"/>
              </a:rPr>
              <a:t>Models Implemented: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Logistic Regression: A linear model used for binary and multi-class classification.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Naive Bayes: Probabilistic classifier based on Bayes’ theorem, effective for text classification.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Random Forest: Ensemble method using decision trees, robust to overfitting.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K-Nearest </a:t>
            </a:r>
            <a:r>
              <a:rPr lang="en-ZA" sz="1200" dirty="0" err="1">
                <a:latin typeface="Century Schoolbook" panose="02040604050505020304" pitchFamily="18" charset="0"/>
              </a:rPr>
              <a:t>Neighbors</a:t>
            </a:r>
            <a:r>
              <a:rPr lang="en-ZA" sz="1200" dirty="0">
                <a:latin typeface="Century Schoolbook" panose="02040604050505020304" pitchFamily="18" charset="0"/>
              </a:rPr>
              <a:t> (KNN): Instance-based learning method that classifies based on proximity to training samples.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endParaRPr lang="en-ZA" sz="1200" dirty="0">
              <a:latin typeface="Century Schoolbook" panose="02040604050505020304" pitchFamily="18" charset="0"/>
            </a:endParaRPr>
          </a:p>
          <a:p>
            <a: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200" b="1" dirty="0">
                <a:latin typeface="Century Schoolbook" panose="02040604050505020304" pitchFamily="18" charset="0"/>
              </a:rPr>
              <a:t>Why These Models?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Diverse approaches to classification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Balance between interpretability and performance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Suitable for text-based data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endParaRPr lang="en-ZA" sz="1200" b="1" dirty="0">
              <a:latin typeface="Century Schoolbook" panose="02040604050505020304" pitchFamily="18" charset="0"/>
            </a:endParaRPr>
          </a:p>
          <a:p>
            <a: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200" b="1" dirty="0">
                <a:latin typeface="Century Schoolbook" panose="02040604050505020304" pitchFamily="18" charset="0"/>
              </a:rPr>
              <a:t>Evaluation Metrics: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Accuracy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Precision, Recall, F1-score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Confusion Matrix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1200" dirty="0">
              <a:latin typeface="Century Schoolbook" panose="02040604050505020304" pitchFamily="18" charset="0"/>
            </a:endParaRP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200" b="1" dirty="0">
                <a:latin typeface="Century Schoolbook" panose="02040604050505020304" pitchFamily="18" charset="0"/>
              </a:rPr>
              <a:t>Training Strategy: Train each model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Predict on validation data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Display confusion matrix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Print classification report</a:t>
            </a: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endParaRPr lang="en-ZA" sz="1200" dirty="0">
              <a:latin typeface="Century Schoolbook" panose="02040604050505020304" pitchFamily="18" charset="0"/>
            </a:endParaRPr>
          </a:p>
          <a:p>
            <a: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200" b="1" dirty="0">
                <a:latin typeface="Century Schoolbook" panose="02040604050505020304" pitchFamily="18" charset="0"/>
              </a:rPr>
              <a:t>Visuals:</a:t>
            </a:r>
          </a:p>
          <a:p>
            <a:pPr marL="180975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Confusion matrices for each model</a:t>
            </a:r>
          </a:p>
          <a:p>
            <a:pPr marL="180975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Radar chart comparing model performance across metrics</a:t>
            </a:r>
          </a:p>
          <a:p>
            <a: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1200" dirty="0">
              <a:latin typeface="Century Schoolbook" panose="02040604050505020304" pitchFamily="18" charset="0"/>
            </a:endParaRPr>
          </a:p>
          <a:p>
            <a:pPr marL="180975" indent="-1809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200" b="1" dirty="0">
                <a:latin typeface="Century Schoolbook" panose="02040604050505020304" pitchFamily="18" charset="0"/>
              </a:rPr>
              <a:t>Insights:</a:t>
            </a:r>
          </a:p>
          <a:p>
            <a:pPr marL="180975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Helps identify the best-performing model</a:t>
            </a:r>
          </a:p>
          <a:p>
            <a:pPr marL="180975" indent="-180975">
              <a:lnSpc>
                <a:spcPct val="10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Balances between precision and recall depending on use-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5C3A83-1166-374C-DBFC-F79AD880D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7</a:t>
            </a:fld>
            <a:endParaRPr lang="en-US" dirty="0"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DC9FBB-923B-5533-6F03-F75DECFF3F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04493" y="2266898"/>
            <a:ext cx="4955245" cy="4065322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348564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9CC7B8B-7765-FFA9-C11A-6F16EA2E34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756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CC7B8B-7765-FFA9-C11A-6F16EA2E3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B081371-457A-59EE-8A9D-52CB49914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  <a:solidFill>
            <a:schemeClr val="tx1"/>
          </a:solidFill>
        </p:spPr>
        <p:txBody>
          <a:bodyPr vert="horz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5. </a:t>
            </a:r>
            <a:r>
              <a:rPr lang="en-ZA" sz="2000" b="1" dirty="0" err="1">
                <a:solidFill>
                  <a:srgbClr val="0070C0"/>
                </a:solidFill>
                <a:latin typeface="Century Schoolbook" panose="02040604050505020304" pitchFamily="18" charset="0"/>
              </a:rPr>
              <a:t>Streamlit</a:t>
            </a:r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 App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887485B-9B52-90B7-6786-B0B57C7FC540}"/>
              </a:ext>
            </a:extLst>
          </p:cNvPr>
          <p:cNvSpPr txBox="1">
            <a:spLocks/>
          </p:cNvSpPr>
          <p:nvPr/>
        </p:nvSpPr>
        <p:spPr>
          <a:xfrm>
            <a:off x="855980" y="1114962"/>
            <a:ext cx="10515600" cy="5233379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400" dirty="0">
                <a:latin typeface="Century Schoolbook" panose="02040604050505020304" pitchFamily="18" charset="0"/>
              </a:rPr>
              <a:t>The </a:t>
            </a:r>
            <a:r>
              <a:rPr lang="en-ZA" sz="1400" dirty="0" err="1">
                <a:latin typeface="Century Schoolbook" panose="02040604050505020304" pitchFamily="18" charset="0"/>
              </a:rPr>
              <a:t>Streamlit</a:t>
            </a:r>
            <a:r>
              <a:rPr lang="en-ZA" sz="1400" dirty="0">
                <a:latin typeface="Century Schoolbook" panose="02040604050505020304" pitchFamily="18" charset="0"/>
              </a:rPr>
              <a:t> app serves as the final deployment layer of the project, allowing us to interact with the trained model by inputting news articles and receiving real-time category predictions. This bridges the gap between model development and real-world usability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1400" dirty="0">
              <a:latin typeface="Century Schoolbook" panose="020406040505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400" b="1" dirty="0">
                <a:latin typeface="Century Schoolbook" panose="02040604050505020304" pitchFamily="18" charset="0"/>
              </a:rPr>
              <a:t>Key Features of the </a:t>
            </a:r>
            <a:r>
              <a:rPr lang="en-ZA" sz="1400" b="1" dirty="0" err="1">
                <a:latin typeface="Century Schoolbook" panose="02040604050505020304" pitchFamily="18" charset="0"/>
              </a:rPr>
              <a:t>Streamlit</a:t>
            </a:r>
            <a:r>
              <a:rPr lang="en-ZA" sz="1400" b="1" dirty="0">
                <a:latin typeface="Century Schoolbook" panose="02040604050505020304" pitchFamily="18" charset="0"/>
              </a:rPr>
              <a:t> App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The app includes predictions from different models allowing us to compare outputs and understand model </a:t>
            </a:r>
            <a:r>
              <a:rPr lang="en-ZA" sz="1400" dirty="0" err="1">
                <a:latin typeface="Century Schoolbook" panose="02040604050505020304" pitchFamily="18" charset="0"/>
              </a:rPr>
              <a:t>behavior</a:t>
            </a:r>
            <a:r>
              <a:rPr lang="en-ZA" sz="1400" dirty="0">
                <a:latin typeface="Century Schoolbook" panose="02040604050505020304" pitchFamily="18" charset="0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1400" dirty="0">
              <a:latin typeface="Century Schoolbook" panose="020406040505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We were able to enter article text directly into the app and receive instant prediction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ZA" sz="1400" dirty="0">
              <a:latin typeface="Century Schoolbook" panose="02040604050505020304" pitchFamily="18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The app is structured into multiple sections: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Category prediction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Confidence score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Word Clou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1400" dirty="0">
              <a:latin typeface="Century Schoolbook" panose="02040604050505020304" pitchFamily="18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User-Friendly Design - The interface is clean, intuitive, and accessible to both technical and non-technical users, making it suitable for public deployment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ZA" sz="1400" dirty="0">
              <a:latin typeface="Century Schoolbook" panose="02040604050505020304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ZA" sz="1400" b="1" dirty="0">
                <a:latin typeface="Century Schoolbook" panose="02040604050505020304" pitchFamily="18" charset="0"/>
              </a:rPr>
              <a:t>Value Add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Demonstrates the model’s real-world applicability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Encourages user engagement and feedback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Supports decision-making by providing instant insights from news content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ZA" sz="1400" dirty="0">
              <a:latin typeface="Century Schoolbook" panose="02040604050505020304" pitchFamily="18" charset="0"/>
            </a:endParaRP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8A5B0394-CA80-ACBF-D71A-B84B822B0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8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07688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9CC7B8B-7765-FFA9-C11A-6F16EA2E34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8762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CC7B8B-7765-FFA9-C11A-6F16EA2E3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B081371-457A-59EE-8A9D-52CB49914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  <a:solidFill>
            <a:schemeClr val="tx1"/>
          </a:solidFill>
        </p:spPr>
        <p:txBody>
          <a:bodyPr vert="horz">
            <a:normAutofit/>
          </a:bodyPr>
          <a:lstStyle/>
          <a:p>
            <a:r>
              <a:rPr lang="en-ZA" sz="2000" dirty="0">
                <a:solidFill>
                  <a:srgbClr val="0070C0"/>
                </a:solidFill>
                <a:latin typeface="Century Schoolbook" panose="02040604050505020304" pitchFamily="18" charset="0"/>
              </a:rPr>
              <a:t>6. </a:t>
            </a:r>
            <a:r>
              <a:rPr lang="en-ZA" sz="2000" dirty="0" err="1">
                <a:solidFill>
                  <a:srgbClr val="0070C0"/>
                </a:solidFill>
                <a:latin typeface="Century Schoolbook" panose="02040604050505020304" pitchFamily="18" charset="0"/>
              </a:rPr>
              <a:t>Streamlit</a:t>
            </a:r>
            <a:r>
              <a:rPr lang="en-ZA" sz="2000" dirty="0">
                <a:solidFill>
                  <a:srgbClr val="0070C0"/>
                </a:solidFill>
                <a:latin typeface="Century Schoolbook" panose="02040604050505020304" pitchFamily="18" charset="0"/>
              </a:rPr>
              <a:t> Ap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D4FAE28-E6FE-C311-1A68-8B42EDE1F1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6247" y="3745007"/>
            <a:ext cx="5467976" cy="2747867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677FD9-5BB4-106D-AEC0-F8DF78192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9</a:t>
            </a:fld>
            <a:endParaRPr lang="en-US" dirty="0">
              <a:latin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E09104D-01FC-611B-F410-993E6933A0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5980" y="1091782"/>
            <a:ext cx="5436166" cy="2653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935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175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M78853419_Win32_SL_V5" id="{958D2C9E-948D-4354-BF9D-DF8AE3C2B240}" vid="{22D4A967-05D2-4D72-8594-54CFF341483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ackground xmlns="71af3243-3dd4-4a8d-8c0d-dd76da1f02a5">false</Background>
    <Status xmlns="71af3243-3dd4-4a8d-8c0d-dd76da1f02a5">Not started</Status>
    <_ip_UnifiedCompliancePolicyUIAction xmlns="http://schemas.microsoft.com/sharepoint/v3" xsi:nil="true"/>
    <Image xmlns="71af3243-3dd4-4a8d-8c0d-dd76da1f02a5">
      <Url xsi:nil="true"/>
      <Description xsi:nil="true"/>
    </Image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92DB9E12-8AC3-4138-BF4D-720A5525AB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21FFAC0-05A2-416A-B06C-C248395482C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F4B194E-8B30-4377-8C59-ECFB902D2A26}">
  <ds:schemaRefs>
    <ds:schemaRef ds:uri="http://schemas.microsoft.com/office/2006/metadata/properties"/>
    <ds:schemaRef ds:uri="http://schemas.microsoft.com/office/infopath/2007/PartnerControls"/>
    <ds:schemaRef ds:uri="71af3243-3dd4-4a8d-8c0d-dd76da1f02a5"/>
    <ds:schemaRef ds:uri="http://schemas.microsoft.com/sharepoint/v3"/>
    <ds:schemaRef ds:uri="230e9df3-be65-4c73-a93b-d1236ebd677e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Geometric annual presentation</Template>
  <TotalTime>79</TotalTime>
  <Words>1717</Words>
  <Application>Microsoft Office PowerPoint</Application>
  <PresentationFormat>Widescreen</PresentationFormat>
  <Paragraphs>180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entury Gothic</vt:lpstr>
      <vt:lpstr>Century Schoolbook</vt:lpstr>
      <vt:lpstr>Franklin Gothic Book</vt:lpstr>
      <vt:lpstr>Franklin Gothic Demi</vt:lpstr>
      <vt:lpstr>Custom</vt:lpstr>
      <vt:lpstr>think-cell Slide</vt:lpstr>
      <vt:lpstr>2409PTDS Classification Project </vt:lpstr>
      <vt:lpstr>Table of Contents</vt:lpstr>
      <vt:lpstr>1. Project Objective and Scope of Work</vt:lpstr>
      <vt:lpstr>2. Dataset &amp; Preprocessing</vt:lpstr>
      <vt:lpstr>2. Dataset &amp; Preprocessing</vt:lpstr>
      <vt:lpstr>3. Dataset &amp; Preprocessing</vt:lpstr>
      <vt:lpstr>4. Model Development </vt:lpstr>
      <vt:lpstr>5. Streamlit App</vt:lpstr>
      <vt:lpstr>6. Streamlit App</vt:lpstr>
      <vt:lpstr>7. GitHub &amp; Environment Setup</vt:lpstr>
      <vt:lpstr>8. Conclus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anasen, S. (Samantha)</dc:creator>
  <cp:lastModifiedBy>Ganasen, S. (Samantha)</cp:lastModifiedBy>
  <cp:revision>1</cp:revision>
  <dcterms:created xsi:type="dcterms:W3CDTF">2025-07-11T14:24:49Z</dcterms:created>
  <dcterms:modified xsi:type="dcterms:W3CDTF">2025-07-11T16:1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SIP_Label_fb3ff2d6-7c2c-441b-97b8-52c111077da7_Enabled">
    <vt:lpwstr>true</vt:lpwstr>
  </property>
  <property fmtid="{D5CDD505-2E9C-101B-9397-08002B2CF9AE}" pid="4" name="MSIP_Label_fb3ff2d6-7c2c-441b-97b8-52c111077da7_SetDate">
    <vt:lpwstr>2025-07-11T14:50:00Z</vt:lpwstr>
  </property>
  <property fmtid="{D5CDD505-2E9C-101B-9397-08002B2CF9AE}" pid="5" name="MSIP_Label_fb3ff2d6-7c2c-441b-97b8-52c111077da7_Method">
    <vt:lpwstr>Standard</vt:lpwstr>
  </property>
  <property fmtid="{D5CDD505-2E9C-101B-9397-08002B2CF9AE}" pid="6" name="MSIP_Label_fb3ff2d6-7c2c-441b-97b8-52c111077da7_Name">
    <vt:lpwstr>fb3ff2d6-7c2c-441b-97b8-52c111077da7</vt:lpwstr>
  </property>
  <property fmtid="{D5CDD505-2E9C-101B-9397-08002B2CF9AE}" pid="7" name="MSIP_Label_fb3ff2d6-7c2c-441b-97b8-52c111077da7_SiteId">
    <vt:lpwstr>0b1d23d8-10d1-4093-8cb7-fd0bb32f81e1</vt:lpwstr>
  </property>
  <property fmtid="{D5CDD505-2E9C-101B-9397-08002B2CF9AE}" pid="8" name="MSIP_Label_fb3ff2d6-7c2c-441b-97b8-52c111077da7_ActionId">
    <vt:lpwstr>f12f5fee-d798-483b-a5d0-1bf265564fb8</vt:lpwstr>
  </property>
  <property fmtid="{D5CDD505-2E9C-101B-9397-08002B2CF9AE}" pid="9" name="MSIP_Label_fb3ff2d6-7c2c-441b-97b8-52c111077da7_ContentBits">
    <vt:lpwstr>0</vt:lpwstr>
  </property>
</Properties>
</file>